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bookmarkIdSeed="3">
  <p:sldMasterIdLst>
    <p:sldMasterId id="2147485197" r:id="rId1"/>
    <p:sldMasterId id="2147485265" r:id="rId2"/>
    <p:sldMasterId id="2147485516" r:id="rId3"/>
    <p:sldMasterId id="2147485424" r:id="rId4"/>
  </p:sldMasterIdLst>
  <p:notesMasterIdLst>
    <p:notesMasterId r:id="rId11"/>
  </p:notesMasterIdLst>
  <p:handoutMasterIdLst>
    <p:handoutMasterId r:id="rId12"/>
  </p:handoutMasterIdLst>
  <p:sldIdLst>
    <p:sldId id="500" r:id="rId5"/>
    <p:sldId id="501" r:id="rId6"/>
    <p:sldId id="508" r:id="rId7"/>
    <p:sldId id="505" r:id="rId8"/>
    <p:sldId id="506" r:id="rId9"/>
    <p:sldId id="507" r:id="rId10"/>
  </p:sldIdLst>
  <p:sldSz cx="9144000" cy="6858000" type="screen4x3"/>
  <p:notesSz cx="6735763" cy="98663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1600" b="1" kern="1200">
        <a:solidFill>
          <a:schemeClr val="tx1"/>
        </a:solidFill>
        <a:latin typeface="Trebuchet MS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ohar Grigorian" initials="G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1" autoAdjust="0"/>
    <p:restoredTop sz="67669" autoAdjust="0"/>
  </p:normalViewPr>
  <p:slideViewPr>
    <p:cSldViewPr snapToGrid="0" snapToObjects="1">
      <p:cViewPr varScale="1">
        <p:scale>
          <a:sx n="109" d="100"/>
          <a:sy n="109" d="100"/>
        </p:scale>
        <p:origin x="1710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-3180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63A73407-9E61-424A-B0F2-5A623095F2BC}" type="datetimeFigureOut">
              <a:rPr lang="en-US"/>
              <a:pPr>
                <a:defRPr/>
              </a:pPr>
              <a:t>3/1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D6928F1E-31BD-4991-8F9D-46CA2C54133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17758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98" y="2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5F77F1B4-B009-41BF-A2EA-B40E14E8E4BB}" type="datetimeFigureOut">
              <a:rPr lang="en-US"/>
              <a:pPr>
                <a:defRPr/>
              </a:pPr>
              <a:t>3/1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9775"/>
            <a:ext cx="4935537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16" tIns="45208" rIns="90416" bIns="45208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188" y="4687174"/>
            <a:ext cx="5387390" cy="4439503"/>
          </a:xfrm>
          <a:prstGeom prst="rect">
            <a:avLst/>
          </a:prstGeom>
        </p:spPr>
        <p:txBody>
          <a:bodyPr vert="horz" lIns="90416" tIns="45208" rIns="90416" bIns="45208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l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98" y="9370976"/>
            <a:ext cx="2919441" cy="493652"/>
          </a:xfrm>
          <a:prstGeom prst="rect">
            <a:avLst/>
          </a:prstGeom>
        </p:spPr>
        <p:txBody>
          <a:bodyPr vert="horz" lIns="90416" tIns="45208" rIns="90416" bIns="45208" rtlCol="0" anchor="b"/>
          <a:lstStyle>
            <a:lvl1pPr algn="r">
              <a:defRPr sz="1200">
                <a:latin typeface="Trebuchet MS" pitchFamily="34" charset="0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FC9B17A6-8FF8-405B-9CCE-AE6A392A6C0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9781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9B17A6-8FF8-405B-9CCE-AE6A392A6C03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9586456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0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306742"/>
            <a:ext cx="3010890" cy="5616076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295615"/>
            <a:ext cx="5207000" cy="5592567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425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89079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8569158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4139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8410104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5166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3452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8047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50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51072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99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3490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2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942013" y="6107113"/>
            <a:ext cx="2551112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65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9852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2803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36483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900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0702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/>
          <a:p>
            <a:fld id="{371166F7-FEBA-3B46-9CA5-8AE60F5AD3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179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wb247868\Desktop\New POWERPOINT TEMPLATES\Template 1\images\images\template2_02.jpg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532"/>
          <a:stretch/>
        </p:blipFill>
        <p:spPr bwMode="auto">
          <a:xfrm flipV="1">
            <a:off x="0" y="0"/>
            <a:ext cx="9168169" cy="222250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6667500"/>
            <a:ext cx="2743199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25908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750764-EB7A-40E0-9262-039BC724AE8A}" type="slidenum">
              <a:rPr lang="en-US" sz="160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 descr="WBG-SURR-Horizontal-RGB-high"/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92874"/>
            <a:ext cx="2057400" cy="365125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353698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12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589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1" y="260351"/>
            <a:ext cx="8496300" cy="5762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323851" y="852040"/>
            <a:ext cx="8496300" cy="274320"/>
          </a:xfrm>
          <a:noFill/>
          <a:ln>
            <a:noFill/>
          </a:ln>
          <a:effectLst/>
        </p:spPr>
        <p:txBody>
          <a:bodyPr vert="horz" wrap="square" lIns="0" tIns="0" rIns="0" bIns="18000" numCol="1" anchor="t" anchorCtr="0" compatLnSpc="1">
            <a:prstTxWarp prst="textNoShape">
              <a:avLst/>
            </a:prstTxWarp>
            <a:normAutofit/>
          </a:bodyPr>
          <a:lstStyle>
            <a:lvl1pPr algn="l" defTabSz="435437" rtl="0" eaLnBrk="1" latinLnBrk="0" hangingPunct="1">
              <a:spcBef>
                <a:spcPct val="0"/>
              </a:spcBef>
              <a:buFontTx/>
              <a:buNone/>
              <a:defRPr lang="de-DE" sz="1714" b="0" kern="1200" noProof="0" dirty="0">
                <a:solidFill>
                  <a:schemeClr val="tx2"/>
                </a:solidFill>
                <a:latin typeface="+mj-lt"/>
                <a:ea typeface="+mj-ea"/>
                <a:cs typeface="Arial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84414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/>
          <a:lstStyle/>
          <a:p>
            <a:fld id="{FF758475-CBAC-4C17-93A0-2B15C7C3AF5F}" type="datetimeFigureOut">
              <a:rPr kumimoji="1" lang="ja-JP" altLang="en-US" smtClean="0"/>
              <a:t>2018/3/12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/>
          <a:p>
            <a:fld id="{B091E024-831B-42B7-AA81-51BE908FDC6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457708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Jobs Full Page Inter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115888" indent="-115888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Char char="•"/>
            </a:pPr>
            <a:endParaRPr lang="en-US" altLang="en-US" sz="1300" b="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8462029" cy="756707"/>
          </a:xfrm>
        </p:spPr>
        <p:txBody>
          <a:bodyPr anchor="t"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159329"/>
            <a:ext cx="8477250" cy="505308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Footer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E18969D-16CF-4DFE-AEF6-C766460D6883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15501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02125"/>
            <a:ext cx="9144000" cy="176213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396005" y="1189789"/>
            <a:ext cx="7039470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408676" y="3000005"/>
            <a:ext cx="7026799" cy="1211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331"/>
          <p:cNvSpPr>
            <a:spLocks noGrp="1"/>
          </p:cNvSpPr>
          <p:nvPr>
            <p:ph type="body" sz="quarter" idx="14"/>
          </p:nvPr>
        </p:nvSpPr>
        <p:spPr>
          <a:xfrm>
            <a:off x="5682073" y="4699001"/>
            <a:ext cx="2821170" cy="1393637"/>
          </a:xfrm>
        </p:spPr>
        <p:txBody>
          <a:bodyPr anchor="b"/>
          <a:lstStyle>
            <a:lvl1pPr algn="r">
              <a:lnSpc>
                <a:spcPct val="100000"/>
              </a:lnSpc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algn="r"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1028"/>
          <p:cNvSpPr>
            <a:spLocks noGrp="1" noChangeArrowheads="1"/>
          </p:cNvSpPr>
          <p:nvPr>
            <p:ph type="dt" sz="half" idx="17"/>
          </p:nvPr>
        </p:nvSpPr>
        <p:spPr>
          <a:xfrm>
            <a:off x="5716588" y="6116638"/>
            <a:ext cx="2719387" cy="306387"/>
          </a:xfrm>
        </p:spPr>
        <p:txBody>
          <a:bodyPr rIns="0" anchor="ctr"/>
          <a:lstStyle>
            <a:lvl1pPr algn="r"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69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 noChangeArrowheads="1"/>
          </p:cNvSpPr>
          <p:nvPr/>
        </p:nvSpPr>
        <p:spPr bwMode="auto">
          <a:xfrm flipV="1">
            <a:off x="0" y="0"/>
            <a:ext cx="9144000" cy="4479925"/>
          </a:xfrm>
          <a:prstGeom prst="rect">
            <a:avLst/>
          </a:prstGeom>
          <a:solidFill>
            <a:srgbClr val="139AF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4311650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1512623" y="1189789"/>
            <a:ext cx="6971806" cy="1822161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36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1525172" y="3000005"/>
            <a:ext cx="6959257" cy="8758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0" i="0" cap="all" baseline="0">
                <a:solidFill>
                  <a:srgbClr val="FFFFFF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Text Placeholder 331"/>
          <p:cNvSpPr>
            <a:spLocks noGrp="1"/>
          </p:cNvSpPr>
          <p:nvPr>
            <p:ph type="body" sz="quarter" idx="14" hasCustomPrompt="1"/>
          </p:nvPr>
        </p:nvSpPr>
        <p:spPr>
          <a:xfrm>
            <a:off x="5682073" y="4699001"/>
            <a:ext cx="2821170" cy="1393637"/>
          </a:xfrm>
        </p:spPr>
        <p:txBody>
          <a:bodyPr anchor="t"/>
          <a:lstStyle>
            <a:lvl1pPr marL="0" marR="0" indent="0" algn="r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Tx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Arial"/>
              </a:defRPr>
            </a:lvl1pPr>
            <a:lvl2pPr marL="0" marR="0" indent="0" algn="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783C"/>
              </a:buClr>
              <a:buSzTx/>
              <a:buFont typeface="Wingdings" charset="0"/>
              <a:buNone/>
              <a:tabLst/>
              <a:defRPr sz="1400" b="0" i="0">
                <a:latin typeface="+mn-l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8000" y="4699001"/>
            <a:ext cx="5058833" cy="1375832"/>
          </a:xfrm>
          <a:solidFill>
            <a:srgbClr val="FFFFFF"/>
          </a:solidFill>
        </p:spPr>
        <p:txBody>
          <a:bodyPr anchor="ctr">
            <a:normAutofit/>
          </a:bodyPr>
          <a:lstStyle>
            <a:lvl1pPr algn="ctr">
              <a:defRPr baseline="0">
                <a:solidFill>
                  <a:srgbClr val="021F43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74494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8957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359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8906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7601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5678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4926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21862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9622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5307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1518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587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7630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6CE96-045B-40ED-8D02-354C03B54DA5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3541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1626"/>
            <a:ext cx="7174023" cy="756707"/>
          </a:xfrm>
        </p:spPr>
        <p:txBody>
          <a:bodyPr/>
          <a:lstStyle>
            <a:lvl1pPr>
              <a:defRPr sz="2200" b="0" i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D33A1-7D54-4980-B6AE-E0A6A8B6D590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77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7051174" cy="1031875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2B5E21-0814-4E53-8E0F-037F2094EB7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65" name="Picture 6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304308" y="353502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146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4" y="301625"/>
            <a:ext cx="7153475" cy="667338"/>
          </a:xfrm>
        </p:spPr>
        <p:txBody>
          <a:bodyPr/>
          <a:lstStyle>
            <a:lvl1pPr>
              <a:defRPr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599260"/>
            <a:ext cx="8440305" cy="4462104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025408"/>
            <a:ext cx="8435473" cy="517408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32051" y="13049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556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934" y="811658"/>
            <a:ext cx="3010890" cy="5111160"/>
          </a:xfrm>
        </p:spPr>
        <p:txBody>
          <a:bodyPr anchor="ctr"/>
          <a:lstStyle>
            <a:lvl1pPr algn="l">
              <a:defRPr sz="2400" b="0" i="0" cap="all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2pPr>
            <a:lvl3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3pPr>
            <a:lvl4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4pPr>
            <a:lvl5pPr algn="l">
              <a:defRPr sz="2400" b="0" i="0" cap="all">
                <a:solidFill>
                  <a:schemeClr val="tx2">
                    <a:lumMod val="50000"/>
                    <a:lumOff val="50000"/>
                  </a:schemeClr>
                </a:solidFill>
                <a:latin typeface="+mn-lt"/>
                <a:cs typeface="Andes ExtraLigh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811658"/>
            <a:ext cx="5207000" cy="507652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E39530-4A64-4105-A1E8-CABB2337AF9E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295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288636"/>
            <a:ext cx="7204846" cy="461819"/>
          </a:xfrm>
        </p:spPr>
        <p:txBody>
          <a:bodyPr/>
          <a:lstStyle>
            <a:lvl1pPr>
              <a:defRPr sz="2200" b="0" i="0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3000" y="983838"/>
            <a:ext cx="5207000" cy="4904344"/>
          </a:xfrm>
        </p:spPr>
        <p:txBody>
          <a:bodyPr anchor="ctr"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B8CA78-F478-433C-9E59-0B99A236725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61779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7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with Graphic El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842" y="288636"/>
            <a:ext cx="7129153" cy="461819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22841" y="1443789"/>
            <a:ext cx="5307263" cy="4545263"/>
          </a:xfrm>
        </p:spPr>
        <p:txBody>
          <a:bodyPr/>
          <a:lstStyle>
            <a:lvl1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21093" y="1003049"/>
            <a:ext cx="3087853" cy="4972050"/>
          </a:xfrm>
        </p:spPr>
        <p:txBody>
          <a:bodyPr rIns="182880" anchor="ctr"/>
          <a:lstStyle>
            <a:lvl1pPr>
              <a:defRPr sz="16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622675" y="976312"/>
            <a:ext cx="5294062" cy="414003"/>
          </a:xfrm>
        </p:spPr>
        <p:txBody>
          <a:bodyPr/>
          <a:lstStyle>
            <a:lvl1pPr algn="ctr">
              <a:defRPr sz="1600" b="0" cap="all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745339-787B-4FA5-BA6F-6DD1A6C410C8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81448" y="0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903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4"/>
            <a:ext cx="7174023" cy="983693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934" y="1788583"/>
            <a:ext cx="4133273" cy="4399780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57428" y="1788509"/>
            <a:ext cx="4133088" cy="4402163"/>
          </a:xfrm>
        </p:spPr>
        <p:txBody>
          <a:bodyPr lIns="182880" rIns="182880" anchor="ctr"/>
          <a:lstStyle>
            <a:lvl1pPr marL="0" marR="0" indent="0" algn="l" defTabSz="914400" rtl="0" eaLnBrk="0" fontAlgn="base" latinLnBrk="0" hangingPunct="0">
              <a:lnSpc>
                <a:spcPct val="130000"/>
              </a:lnSpc>
              <a:spcBef>
                <a:spcPts val="180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Tx/>
              <a:buFontTx/>
              <a:buNone/>
              <a:tabLst/>
              <a:defRPr sz="1600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3"/>
          </p:nvPr>
        </p:nvSpPr>
        <p:spPr>
          <a:xfrm>
            <a:off x="356934" y="1429560"/>
            <a:ext cx="4133273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4"/>
          </p:nvPr>
        </p:nvSpPr>
        <p:spPr>
          <a:xfrm>
            <a:off x="4657429" y="1421539"/>
            <a:ext cx="4133088" cy="264331"/>
          </a:xfrm>
        </p:spPr>
        <p:txBody>
          <a:bodyPr anchor="ctr">
            <a:normAutofit/>
          </a:bodyPr>
          <a:lstStyle>
            <a:lvl1pPr algn="ctr">
              <a:defRPr sz="1400" cap="all">
                <a:solidFill>
                  <a:srgbClr val="595959"/>
                </a:solidFill>
              </a:defRPr>
            </a:lvl1pPr>
            <a:lvl2pPr>
              <a:defRPr sz="1600">
                <a:solidFill>
                  <a:srgbClr val="595959"/>
                </a:solidFill>
              </a:defRPr>
            </a:lvl2pPr>
            <a:lvl3pPr>
              <a:defRPr sz="1600">
                <a:solidFill>
                  <a:srgbClr val="595959"/>
                </a:solidFill>
              </a:defRPr>
            </a:lvl3pPr>
            <a:lvl4pPr>
              <a:defRPr sz="1600">
                <a:solidFill>
                  <a:srgbClr val="595959"/>
                </a:solidFill>
              </a:defRPr>
            </a:lvl4pPr>
            <a:lvl5pPr>
              <a:defRPr sz="1600">
                <a:solidFill>
                  <a:srgbClr val="595959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340C24-2B60-41F0-B4BA-A13B63CE906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459038" y="376531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016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819FAE-2543-4C2F-86C6-48133180FDEC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8131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58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Highli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46364"/>
            <a:ext cx="3145592" cy="5784272"/>
          </a:xfrm>
        </p:spPr>
        <p:txBody>
          <a:bodyPr anchor="ctr"/>
          <a:lstStyle>
            <a:lvl1pPr>
              <a:defRPr sz="3200" b="0" i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82999" y="346364"/>
            <a:ext cx="5166895" cy="5784271"/>
          </a:xfrm>
        </p:spPr>
        <p:txBody>
          <a:bodyPr anchor="ctr"/>
          <a:lstStyle>
            <a:lvl1pPr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defRPr sz="22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  <a:lvl2pPr marL="0" indent="0">
              <a:lnSpc>
                <a:spcPct val="125000"/>
              </a:lnSpc>
              <a:spcBef>
                <a:spcPts val="0"/>
              </a:spcBef>
              <a:spcAft>
                <a:spcPts val="2200"/>
              </a:spcAft>
              <a:buNone/>
              <a:defRPr sz="2000" baseline="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 marL="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 marL="182880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 marL="454914" indent="0">
              <a:lnSpc>
                <a:spcPct val="130000"/>
              </a:lnSpc>
              <a:buNone/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57E07-B8AC-4C63-9281-5A1A261B800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0690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b St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7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8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9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1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2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3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170" name="ClipArt Placeholder 9"/>
          <p:cNvSpPr>
            <a:spLocks noGrp="1"/>
          </p:cNvSpPr>
          <p:nvPr>
            <p:ph type="clipArt" sz="quarter" idx="49"/>
          </p:nvPr>
        </p:nvSpPr>
        <p:spPr>
          <a:xfrm>
            <a:off x="34183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77" name="ClipArt Placeholder 9"/>
          <p:cNvSpPr>
            <a:spLocks noGrp="1"/>
          </p:cNvSpPr>
          <p:nvPr>
            <p:ph type="clipArt" sz="quarter" idx="56"/>
          </p:nvPr>
        </p:nvSpPr>
        <p:spPr>
          <a:xfrm>
            <a:off x="2093047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84" name="ClipArt Placeholder 9"/>
          <p:cNvSpPr>
            <a:spLocks noGrp="1"/>
          </p:cNvSpPr>
          <p:nvPr>
            <p:ph type="clipArt" sz="quarter" idx="63"/>
          </p:nvPr>
        </p:nvSpPr>
        <p:spPr>
          <a:xfrm>
            <a:off x="3844259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1" name="ClipArt Placeholder 9"/>
          <p:cNvSpPr>
            <a:spLocks noGrp="1"/>
          </p:cNvSpPr>
          <p:nvPr>
            <p:ph type="clipArt" sz="quarter" idx="70"/>
          </p:nvPr>
        </p:nvSpPr>
        <p:spPr>
          <a:xfrm>
            <a:off x="5595471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198" name="ClipArt Placeholder 9"/>
          <p:cNvSpPr>
            <a:spLocks noGrp="1"/>
          </p:cNvSpPr>
          <p:nvPr>
            <p:ph type="clipArt" sz="quarter" idx="77"/>
          </p:nvPr>
        </p:nvSpPr>
        <p:spPr>
          <a:xfrm>
            <a:off x="7346684" y="3721341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301625"/>
            <a:ext cx="8439652" cy="668193"/>
          </a:xfrm>
        </p:spPr>
        <p:txBody>
          <a:bodyPr/>
          <a:lstStyle>
            <a:lvl1pPr>
              <a:defRPr b="0" i="0">
                <a:solidFill>
                  <a:schemeClr val="bg2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1" name="Text Placeholder 2"/>
          <p:cNvSpPr>
            <a:spLocks noGrp="1"/>
          </p:cNvSpPr>
          <p:nvPr>
            <p:ph type="body" sz="quarter" idx="50"/>
          </p:nvPr>
        </p:nvSpPr>
        <p:spPr>
          <a:xfrm>
            <a:off x="60349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47649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73" name="Text Placeholder 2"/>
          <p:cNvSpPr>
            <a:spLocks noGrp="1"/>
          </p:cNvSpPr>
          <p:nvPr>
            <p:ph type="body" sz="quarter" idx="52"/>
          </p:nvPr>
        </p:nvSpPr>
        <p:spPr>
          <a:xfrm>
            <a:off x="46509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4" name="Text Placeholder 2"/>
          <p:cNvSpPr>
            <a:spLocks noGrp="1"/>
          </p:cNvSpPr>
          <p:nvPr>
            <p:ph type="body" sz="quarter" idx="53"/>
          </p:nvPr>
        </p:nvSpPr>
        <p:spPr>
          <a:xfrm>
            <a:off x="46509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5" name="Text Placeholder 2"/>
          <p:cNvSpPr>
            <a:spLocks noGrp="1"/>
          </p:cNvSpPr>
          <p:nvPr>
            <p:ph type="body" sz="quarter" idx="54"/>
          </p:nvPr>
        </p:nvSpPr>
        <p:spPr>
          <a:xfrm>
            <a:off x="46509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6" name="Text Placeholder 2"/>
          <p:cNvSpPr>
            <a:spLocks noGrp="1"/>
          </p:cNvSpPr>
          <p:nvPr>
            <p:ph type="body" sz="quarter" idx="55"/>
          </p:nvPr>
        </p:nvSpPr>
        <p:spPr>
          <a:xfrm>
            <a:off x="46509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8" name="Text Placeholder 2"/>
          <p:cNvSpPr>
            <a:spLocks noGrp="1"/>
          </p:cNvSpPr>
          <p:nvPr>
            <p:ph type="body" sz="quarter" idx="57"/>
          </p:nvPr>
        </p:nvSpPr>
        <p:spPr>
          <a:xfrm>
            <a:off x="23215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9" name="Picture Placeholder 4"/>
          <p:cNvSpPr>
            <a:spLocks noGrp="1"/>
          </p:cNvSpPr>
          <p:nvPr>
            <p:ph type="pic" sz="quarter" idx="58"/>
          </p:nvPr>
        </p:nvSpPr>
        <p:spPr>
          <a:xfrm>
            <a:off x="21945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0" name="Text Placeholder 2"/>
          <p:cNvSpPr>
            <a:spLocks noGrp="1"/>
          </p:cNvSpPr>
          <p:nvPr>
            <p:ph type="body" sz="quarter" idx="59"/>
          </p:nvPr>
        </p:nvSpPr>
        <p:spPr>
          <a:xfrm>
            <a:off x="21831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1" name="Text Placeholder 2"/>
          <p:cNvSpPr>
            <a:spLocks noGrp="1"/>
          </p:cNvSpPr>
          <p:nvPr>
            <p:ph type="body" sz="quarter" idx="60"/>
          </p:nvPr>
        </p:nvSpPr>
        <p:spPr>
          <a:xfrm>
            <a:off x="21831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2" name="Text Placeholder 2"/>
          <p:cNvSpPr>
            <a:spLocks noGrp="1"/>
          </p:cNvSpPr>
          <p:nvPr>
            <p:ph type="body" sz="quarter" idx="61"/>
          </p:nvPr>
        </p:nvSpPr>
        <p:spPr>
          <a:xfrm>
            <a:off x="21831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3" name="Text Placeholder 2"/>
          <p:cNvSpPr>
            <a:spLocks noGrp="1"/>
          </p:cNvSpPr>
          <p:nvPr>
            <p:ph type="body" sz="quarter" idx="62"/>
          </p:nvPr>
        </p:nvSpPr>
        <p:spPr>
          <a:xfrm>
            <a:off x="21831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Text Placeholder 2"/>
          <p:cNvSpPr>
            <a:spLocks noGrp="1"/>
          </p:cNvSpPr>
          <p:nvPr>
            <p:ph type="body" sz="quarter" idx="64"/>
          </p:nvPr>
        </p:nvSpPr>
        <p:spPr>
          <a:xfrm>
            <a:off x="4101439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6" name="Picture Placeholder 4"/>
          <p:cNvSpPr>
            <a:spLocks noGrp="1"/>
          </p:cNvSpPr>
          <p:nvPr>
            <p:ph type="pic" sz="quarter" idx="65"/>
          </p:nvPr>
        </p:nvSpPr>
        <p:spPr>
          <a:xfrm>
            <a:off x="3974439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87" name="Text Placeholder 2"/>
          <p:cNvSpPr>
            <a:spLocks noGrp="1"/>
          </p:cNvSpPr>
          <p:nvPr>
            <p:ph type="body" sz="quarter" idx="66"/>
          </p:nvPr>
        </p:nvSpPr>
        <p:spPr>
          <a:xfrm>
            <a:off x="3963047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8" name="Text Placeholder 2"/>
          <p:cNvSpPr>
            <a:spLocks noGrp="1"/>
          </p:cNvSpPr>
          <p:nvPr>
            <p:ph type="body" sz="quarter" idx="67"/>
          </p:nvPr>
        </p:nvSpPr>
        <p:spPr>
          <a:xfrm>
            <a:off x="3963047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9" name="Text Placeholder 2"/>
          <p:cNvSpPr>
            <a:spLocks noGrp="1"/>
          </p:cNvSpPr>
          <p:nvPr>
            <p:ph type="body" sz="quarter" idx="68"/>
          </p:nvPr>
        </p:nvSpPr>
        <p:spPr>
          <a:xfrm>
            <a:off x="3963047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0" name="Text Placeholder 2"/>
          <p:cNvSpPr>
            <a:spLocks noGrp="1"/>
          </p:cNvSpPr>
          <p:nvPr>
            <p:ph type="body" sz="quarter" idx="69"/>
          </p:nvPr>
        </p:nvSpPr>
        <p:spPr>
          <a:xfrm>
            <a:off x="3963047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2" name="Text Placeholder 2"/>
          <p:cNvSpPr>
            <a:spLocks noGrp="1"/>
          </p:cNvSpPr>
          <p:nvPr>
            <p:ph type="body" sz="quarter" idx="71"/>
          </p:nvPr>
        </p:nvSpPr>
        <p:spPr>
          <a:xfrm>
            <a:off x="5863108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3" name="Picture Placeholder 4"/>
          <p:cNvSpPr>
            <a:spLocks noGrp="1"/>
          </p:cNvSpPr>
          <p:nvPr>
            <p:ph type="pic" sz="quarter" idx="72"/>
          </p:nvPr>
        </p:nvSpPr>
        <p:spPr>
          <a:xfrm>
            <a:off x="5736108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94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724716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5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5724716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6" name="Text Placeholder 2"/>
          <p:cNvSpPr>
            <a:spLocks noGrp="1"/>
          </p:cNvSpPr>
          <p:nvPr>
            <p:ph type="body" sz="quarter" idx="75"/>
          </p:nvPr>
        </p:nvSpPr>
        <p:spPr>
          <a:xfrm>
            <a:off x="5724716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Text Placeholder 2"/>
          <p:cNvSpPr>
            <a:spLocks noGrp="1"/>
          </p:cNvSpPr>
          <p:nvPr>
            <p:ph type="body" sz="quarter" idx="76"/>
          </p:nvPr>
        </p:nvSpPr>
        <p:spPr>
          <a:xfrm>
            <a:off x="5724716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7636461" y="3775118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0" name="Picture Placeholder 4"/>
          <p:cNvSpPr>
            <a:spLocks noGrp="1"/>
          </p:cNvSpPr>
          <p:nvPr>
            <p:ph type="pic" sz="quarter" idx="79"/>
          </p:nvPr>
        </p:nvSpPr>
        <p:spPr>
          <a:xfrm>
            <a:off x="7509461" y="4049120"/>
            <a:ext cx="1187450" cy="492125"/>
          </a:xfrm>
        </p:spPr>
        <p:txBody>
          <a:bodyPr/>
          <a:lstStyle>
            <a:lvl1pPr algn="ctr">
              <a:defRPr sz="110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01" name="Text Placeholder 2"/>
          <p:cNvSpPr>
            <a:spLocks noGrp="1"/>
          </p:cNvSpPr>
          <p:nvPr>
            <p:ph type="body" sz="quarter" idx="80"/>
          </p:nvPr>
        </p:nvSpPr>
        <p:spPr>
          <a:xfrm>
            <a:off x="7498069" y="459973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2" name="Text Placeholder 2"/>
          <p:cNvSpPr>
            <a:spLocks noGrp="1"/>
          </p:cNvSpPr>
          <p:nvPr>
            <p:ph type="body" sz="quarter" idx="81"/>
          </p:nvPr>
        </p:nvSpPr>
        <p:spPr>
          <a:xfrm>
            <a:off x="7498069" y="487373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7498069" y="5147738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7498069" y="541267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5" name="ClipArt Placeholder 9"/>
          <p:cNvSpPr>
            <a:spLocks noGrp="1"/>
          </p:cNvSpPr>
          <p:nvPr>
            <p:ph type="clipArt" sz="quarter" idx="84"/>
          </p:nvPr>
        </p:nvSpPr>
        <p:spPr>
          <a:xfrm>
            <a:off x="34909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6" name="ClipArt Placeholder 9"/>
          <p:cNvSpPr>
            <a:spLocks noGrp="1"/>
          </p:cNvSpPr>
          <p:nvPr>
            <p:ph type="clipArt" sz="quarter" idx="85"/>
          </p:nvPr>
        </p:nvSpPr>
        <p:spPr>
          <a:xfrm>
            <a:off x="2100304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7" name="ClipArt Placeholder 9"/>
          <p:cNvSpPr>
            <a:spLocks noGrp="1"/>
          </p:cNvSpPr>
          <p:nvPr>
            <p:ph type="clipArt" sz="quarter" idx="86"/>
          </p:nvPr>
        </p:nvSpPr>
        <p:spPr>
          <a:xfrm>
            <a:off x="3851516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8" name="ClipArt Placeholder 9"/>
          <p:cNvSpPr>
            <a:spLocks noGrp="1"/>
          </p:cNvSpPr>
          <p:nvPr>
            <p:ph type="clipArt" sz="quarter" idx="87"/>
          </p:nvPr>
        </p:nvSpPr>
        <p:spPr>
          <a:xfrm>
            <a:off x="5602728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09" name="ClipArt Placeholder 9"/>
          <p:cNvSpPr>
            <a:spLocks noGrp="1"/>
          </p:cNvSpPr>
          <p:nvPr>
            <p:ph type="clipArt" sz="quarter" idx="88"/>
          </p:nvPr>
        </p:nvSpPr>
        <p:spPr>
          <a:xfrm>
            <a:off x="7353941" y="1370027"/>
            <a:ext cx="1456764" cy="2023969"/>
          </a:xfrm>
          <a:prstGeom prst="roundRect">
            <a:avLst/>
          </a:prstGeom>
          <a:ln w="19050" cmpd="sng"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en-US" noProof="0"/>
              <a:t>Click icon to add clip art</a:t>
            </a:r>
            <a:endParaRPr lang="en-US" noProof="0" dirty="0"/>
          </a:p>
        </p:txBody>
      </p:sp>
      <p:sp>
        <p:nvSpPr>
          <p:cNvPr id="210" name="Text Placeholder 2"/>
          <p:cNvSpPr>
            <a:spLocks noGrp="1"/>
          </p:cNvSpPr>
          <p:nvPr>
            <p:ph type="body" sz="quarter" idx="89"/>
          </p:nvPr>
        </p:nvSpPr>
        <p:spPr>
          <a:xfrm>
            <a:off x="61074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1" name="Picture Placeholder 4"/>
          <p:cNvSpPr>
            <a:spLocks noGrp="1"/>
          </p:cNvSpPr>
          <p:nvPr>
            <p:ph type="pic" sz="quarter" idx="90"/>
          </p:nvPr>
        </p:nvSpPr>
        <p:spPr>
          <a:xfrm>
            <a:off x="48374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2" name="Text Placeholder 2"/>
          <p:cNvSpPr>
            <a:spLocks noGrp="1"/>
          </p:cNvSpPr>
          <p:nvPr>
            <p:ph type="body" sz="quarter" idx="91"/>
          </p:nvPr>
        </p:nvSpPr>
        <p:spPr>
          <a:xfrm>
            <a:off x="47235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3" name="Text Placeholder 2"/>
          <p:cNvSpPr>
            <a:spLocks noGrp="1"/>
          </p:cNvSpPr>
          <p:nvPr>
            <p:ph type="body" sz="quarter" idx="92"/>
          </p:nvPr>
        </p:nvSpPr>
        <p:spPr>
          <a:xfrm>
            <a:off x="47235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4" name="Text Placeholder 2"/>
          <p:cNvSpPr>
            <a:spLocks noGrp="1"/>
          </p:cNvSpPr>
          <p:nvPr>
            <p:ph type="body" sz="quarter" idx="93"/>
          </p:nvPr>
        </p:nvSpPr>
        <p:spPr>
          <a:xfrm>
            <a:off x="47235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5" name="Text Placeholder 2"/>
          <p:cNvSpPr>
            <a:spLocks noGrp="1"/>
          </p:cNvSpPr>
          <p:nvPr>
            <p:ph type="body" sz="quarter" idx="94"/>
          </p:nvPr>
        </p:nvSpPr>
        <p:spPr>
          <a:xfrm>
            <a:off x="47235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6" name="Text Placeholder 2"/>
          <p:cNvSpPr>
            <a:spLocks noGrp="1"/>
          </p:cNvSpPr>
          <p:nvPr>
            <p:ph type="body" sz="quarter" idx="95"/>
          </p:nvPr>
        </p:nvSpPr>
        <p:spPr>
          <a:xfrm>
            <a:off x="23287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7" name="Picture Placeholder 4"/>
          <p:cNvSpPr>
            <a:spLocks noGrp="1"/>
          </p:cNvSpPr>
          <p:nvPr>
            <p:ph type="pic" sz="quarter" idx="96"/>
          </p:nvPr>
        </p:nvSpPr>
        <p:spPr>
          <a:xfrm>
            <a:off x="22017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8" name="Text Placeholder 2"/>
          <p:cNvSpPr>
            <a:spLocks noGrp="1"/>
          </p:cNvSpPr>
          <p:nvPr>
            <p:ph type="body" sz="quarter" idx="97"/>
          </p:nvPr>
        </p:nvSpPr>
        <p:spPr>
          <a:xfrm>
            <a:off x="21903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9" name="Text Placeholder 2"/>
          <p:cNvSpPr>
            <a:spLocks noGrp="1"/>
          </p:cNvSpPr>
          <p:nvPr>
            <p:ph type="body" sz="quarter" idx="98"/>
          </p:nvPr>
        </p:nvSpPr>
        <p:spPr>
          <a:xfrm>
            <a:off x="21903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0" name="Text Placeholder 2"/>
          <p:cNvSpPr>
            <a:spLocks noGrp="1"/>
          </p:cNvSpPr>
          <p:nvPr>
            <p:ph type="body" sz="quarter" idx="99"/>
          </p:nvPr>
        </p:nvSpPr>
        <p:spPr>
          <a:xfrm>
            <a:off x="21903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1" name="Text Placeholder 2"/>
          <p:cNvSpPr>
            <a:spLocks noGrp="1"/>
          </p:cNvSpPr>
          <p:nvPr>
            <p:ph type="body" sz="quarter" idx="100"/>
          </p:nvPr>
        </p:nvSpPr>
        <p:spPr>
          <a:xfrm>
            <a:off x="21903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2" name="Text Placeholder 2"/>
          <p:cNvSpPr>
            <a:spLocks noGrp="1"/>
          </p:cNvSpPr>
          <p:nvPr>
            <p:ph type="body" sz="quarter" idx="101"/>
          </p:nvPr>
        </p:nvSpPr>
        <p:spPr>
          <a:xfrm>
            <a:off x="4108696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3" name="Picture Placeholder 4"/>
          <p:cNvSpPr>
            <a:spLocks noGrp="1"/>
          </p:cNvSpPr>
          <p:nvPr>
            <p:ph type="pic" sz="quarter" idx="102"/>
          </p:nvPr>
        </p:nvSpPr>
        <p:spPr>
          <a:xfrm>
            <a:off x="3981696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24" name="Text Placeholder 2"/>
          <p:cNvSpPr>
            <a:spLocks noGrp="1"/>
          </p:cNvSpPr>
          <p:nvPr>
            <p:ph type="body" sz="quarter" idx="103"/>
          </p:nvPr>
        </p:nvSpPr>
        <p:spPr>
          <a:xfrm>
            <a:off x="3970304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5" name="Text Placeholder 2"/>
          <p:cNvSpPr>
            <a:spLocks noGrp="1"/>
          </p:cNvSpPr>
          <p:nvPr>
            <p:ph type="body" sz="quarter" idx="104"/>
          </p:nvPr>
        </p:nvSpPr>
        <p:spPr>
          <a:xfrm>
            <a:off x="3970304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6" name="Text Placeholder 2"/>
          <p:cNvSpPr>
            <a:spLocks noGrp="1"/>
          </p:cNvSpPr>
          <p:nvPr>
            <p:ph type="body" sz="quarter" idx="105"/>
          </p:nvPr>
        </p:nvSpPr>
        <p:spPr>
          <a:xfrm>
            <a:off x="3970304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7" name="Text Placeholder 2"/>
          <p:cNvSpPr>
            <a:spLocks noGrp="1"/>
          </p:cNvSpPr>
          <p:nvPr>
            <p:ph type="body" sz="quarter" idx="106"/>
          </p:nvPr>
        </p:nvSpPr>
        <p:spPr>
          <a:xfrm>
            <a:off x="3970304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8" name="Text Placeholder 2"/>
          <p:cNvSpPr>
            <a:spLocks noGrp="1"/>
          </p:cNvSpPr>
          <p:nvPr>
            <p:ph type="body" sz="quarter" idx="107"/>
          </p:nvPr>
        </p:nvSpPr>
        <p:spPr>
          <a:xfrm>
            <a:off x="5870365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9" name="Picture Placeholder 4"/>
          <p:cNvSpPr>
            <a:spLocks noGrp="1"/>
          </p:cNvSpPr>
          <p:nvPr>
            <p:ph type="pic" sz="quarter" idx="108"/>
          </p:nvPr>
        </p:nvSpPr>
        <p:spPr>
          <a:xfrm>
            <a:off x="5743365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0" name="Text Placeholder 2"/>
          <p:cNvSpPr>
            <a:spLocks noGrp="1"/>
          </p:cNvSpPr>
          <p:nvPr>
            <p:ph type="body" sz="quarter" idx="109"/>
          </p:nvPr>
        </p:nvSpPr>
        <p:spPr>
          <a:xfrm>
            <a:off x="5731973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1" name="Text Placeholder 2"/>
          <p:cNvSpPr>
            <a:spLocks noGrp="1"/>
          </p:cNvSpPr>
          <p:nvPr>
            <p:ph type="body" sz="quarter" idx="110"/>
          </p:nvPr>
        </p:nvSpPr>
        <p:spPr>
          <a:xfrm>
            <a:off x="5731973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2" name="Text Placeholder 2"/>
          <p:cNvSpPr>
            <a:spLocks noGrp="1"/>
          </p:cNvSpPr>
          <p:nvPr>
            <p:ph type="body" sz="quarter" idx="111"/>
          </p:nvPr>
        </p:nvSpPr>
        <p:spPr>
          <a:xfrm>
            <a:off x="5731973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3" name="Text Placeholder 2"/>
          <p:cNvSpPr>
            <a:spLocks noGrp="1"/>
          </p:cNvSpPr>
          <p:nvPr>
            <p:ph type="body" sz="quarter" idx="112"/>
          </p:nvPr>
        </p:nvSpPr>
        <p:spPr>
          <a:xfrm>
            <a:off x="5731973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4" name="Text Placeholder 2"/>
          <p:cNvSpPr>
            <a:spLocks noGrp="1"/>
          </p:cNvSpPr>
          <p:nvPr>
            <p:ph type="body" sz="quarter" idx="113"/>
          </p:nvPr>
        </p:nvSpPr>
        <p:spPr>
          <a:xfrm>
            <a:off x="7643718" y="1423804"/>
            <a:ext cx="933450" cy="224584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5" name="Picture Placeholder 4"/>
          <p:cNvSpPr>
            <a:spLocks noGrp="1"/>
          </p:cNvSpPr>
          <p:nvPr>
            <p:ph type="pic" sz="quarter" idx="114"/>
          </p:nvPr>
        </p:nvSpPr>
        <p:spPr>
          <a:xfrm>
            <a:off x="7516718" y="1697806"/>
            <a:ext cx="1187450" cy="492125"/>
          </a:xfrm>
        </p:spPr>
        <p:txBody>
          <a:bodyPr/>
          <a:lstStyle>
            <a:lvl1pPr algn="ctr">
              <a:defRPr sz="110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36" name="Text Placeholder 2"/>
          <p:cNvSpPr>
            <a:spLocks noGrp="1"/>
          </p:cNvSpPr>
          <p:nvPr>
            <p:ph type="body" sz="quarter" idx="115"/>
          </p:nvPr>
        </p:nvSpPr>
        <p:spPr>
          <a:xfrm>
            <a:off x="7505326" y="2248420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7" name="Text Placeholder 2"/>
          <p:cNvSpPr>
            <a:spLocks noGrp="1"/>
          </p:cNvSpPr>
          <p:nvPr>
            <p:ph type="body" sz="quarter" idx="116"/>
          </p:nvPr>
        </p:nvSpPr>
        <p:spPr>
          <a:xfrm>
            <a:off x="7505326" y="2522422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8" name="Text Placeholder 2"/>
          <p:cNvSpPr>
            <a:spLocks noGrp="1"/>
          </p:cNvSpPr>
          <p:nvPr>
            <p:ph type="body" sz="quarter" idx="117"/>
          </p:nvPr>
        </p:nvSpPr>
        <p:spPr>
          <a:xfrm>
            <a:off x="7505326" y="2796424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9" name="Text Placeholder 2"/>
          <p:cNvSpPr>
            <a:spLocks noGrp="1"/>
          </p:cNvSpPr>
          <p:nvPr>
            <p:ph type="body" sz="quarter" idx="118"/>
          </p:nvPr>
        </p:nvSpPr>
        <p:spPr>
          <a:xfrm>
            <a:off x="7505326" y="3061356"/>
            <a:ext cx="1210235" cy="224584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900" b="1" baseline="0">
                <a:solidFill>
                  <a:schemeClr val="tx2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1" name="Footer Placeholder 1"/>
          <p:cNvSpPr>
            <a:spLocks noGrp="1"/>
          </p:cNvSpPr>
          <p:nvPr>
            <p:ph type="ftr" sz="quarter" idx="1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sp>
        <p:nvSpPr>
          <p:cNvPr id="132" name="Slide Number Placeholder 2"/>
          <p:cNvSpPr>
            <a:spLocks noGrp="1"/>
          </p:cNvSpPr>
          <p:nvPr>
            <p:ph type="sldNum" sz="quarter" idx="1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75DC4-23C0-4930-B378-56268E43DA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220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136106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4064001"/>
            <a:ext cx="3978929" cy="1751263"/>
          </a:xfrm>
        </p:spPr>
        <p:txBody>
          <a:bodyPr/>
          <a:lstStyle>
            <a:lvl1pPr>
              <a:defRPr sz="3000" b="0" i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3C4444-5176-4FE8-9DF3-D38BA5FEBCF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09423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846513" y="5302250"/>
            <a:ext cx="5297487" cy="155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algn="ctr">
              <a:defRPr baseline="0"/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46316" y="3075216"/>
            <a:ext cx="3978929" cy="1950356"/>
          </a:xfrm>
        </p:spPr>
        <p:txBody>
          <a:bodyPr/>
          <a:lstStyle>
            <a:lvl1pPr>
              <a:defRPr sz="3000" b="0" i="0" baseline="0">
                <a:solidFill>
                  <a:schemeClr val="tx1"/>
                </a:solidFill>
                <a:effectLst/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63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32417"/>
            <a:ext cx="8445500" cy="5069416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5A7DE8-3597-41AC-809C-E0BB48BD7124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10170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ha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504825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A4E23E-17C8-4CF9-B18C-F5323ECA6396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2196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349250" y="1147233"/>
            <a:ext cx="4159249" cy="504825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39E0BD-A46D-4328-8618-7626A83F28A5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5196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4" y="307475"/>
            <a:ext cx="8410104" cy="708526"/>
          </a:xfrm>
        </p:spPr>
        <p:txBody>
          <a:bodyPr/>
          <a:lstStyle>
            <a:lvl1pPr>
              <a:defRPr sz="2200" b="0" i="0" cap="none" baseline="0">
                <a:solidFill>
                  <a:srgbClr val="021F43"/>
                </a:solidFill>
                <a:latin typeface="+mj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607983" y="114723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612216" y="372321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1"/>
          </p:nvPr>
        </p:nvSpPr>
        <p:spPr>
          <a:xfrm>
            <a:off x="347133" y="1140883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1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51366" y="3716867"/>
            <a:ext cx="4159249" cy="2461684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A7082-81EE-41F2-87E7-0B7C845FF3A9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78327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6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7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8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9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0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1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2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3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4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5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6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7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8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19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1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2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3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4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5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6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7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28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9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0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1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2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3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4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5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6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7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8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39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0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1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2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3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4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5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6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7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48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49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0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1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2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53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4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5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6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7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8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59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0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rgbClr val="021F43"/>
              </a:solidFill>
            </a:endParaRPr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0" y="2828925"/>
            <a:ext cx="9144000" cy="176213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prstClr val="white"/>
              </a:solidFill>
            </a:endParaRPr>
          </a:p>
        </p:txBody>
      </p:sp>
      <p:sp>
        <p:nvSpPr>
          <p:cNvPr id="330" name="Title 329"/>
          <p:cNvSpPr>
            <a:spLocks noGrp="1"/>
          </p:cNvSpPr>
          <p:nvPr>
            <p:ph type="title"/>
          </p:nvPr>
        </p:nvSpPr>
        <p:spPr>
          <a:xfrm>
            <a:off x="865910" y="1306550"/>
            <a:ext cx="7296726" cy="1450437"/>
          </a:xfrm>
        </p:spPr>
        <p:txBody>
          <a:bodyPr/>
          <a:lstStyle>
            <a:lvl1pPr>
              <a:defRPr sz="3800" b="1" cap="none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2" name="Text Placeholder 331"/>
          <p:cNvSpPr>
            <a:spLocks noGrp="1"/>
          </p:cNvSpPr>
          <p:nvPr>
            <p:ph type="body" sz="quarter" idx="13"/>
          </p:nvPr>
        </p:nvSpPr>
        <p:spPr>
          <a:xfrm>
            <a:off x="851104" y="3074088"/>
            <a:ext cx="7328771" cy="239749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  <a:lvl2pPr>
              <a:defRPr b="0" i="0">
                <a:latin typeface="Andes ExtraLight"/>
                <a:cs typeface="Andes ExtraLight"/>
              </a:defRPr>
            </a:lvl2pPr>
            <a:lvl3pPr>
              <a:defRPr b="0" i="0">
                <a:latin typeface="Andes ExtraLight"/>
                <a:cs typeface="Andes ExtraLight"/>
              </a:defRPr>
            </a:lvl3pPr>
            <a:lvl4pPr>
              <a:defRPr b="0" i="0">
                <a:latin typeface="Andes ExtraLight"/>
                <a:cs typeface="Andes ExtraLight"/>
              </a:defRPr>
            </a:lvl4pPr>
            <a:lvl5pPr>
              <a:defRPr b="0" i="0">
                <a:latin typeface="Andes ExtraLight"/>
                <a:cs typeface="Ande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725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3" y="288636"/>
            <a:ext cx="8533067" cy="461819"/>
          </a:xfrm>
        </p:spPr>
        <p:txBody>
          <a:bodyPr/>
          <a:lstStyle>
            <a:lvl1pPr>
              <a:defRPr sz="2200" b="0" i="0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349779" y="968964"/>
            <a:ext cx="8529637" cy="524990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</a:lstStyle>
          <a:p>
            <a:pPr lvl="0"/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8E49EB-A5F6-43DF-98A9-403A8AAA635D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28974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113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8229600" cy="9906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B7AFB-31DA-4FA7-A970-3C966B6E658D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49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sz="2800" b="1" i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9250" y="1598613"/>
            <a:ext cx="8477250" cy="46138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2400"/>
              </a:spcBef>
              <a:tabLst>
                <a:tab pos="8402638" algn="r"/>
              </a:tabLst>
              <a:defRPr lang="en-US" sz="1600" smtClean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>
          <a:xfrm>
            <a:off x="360363" y="6356350"/>
            <a:ext cx="693374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5320B-B2EE-4B14-85B0-118247296C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551507" y="215919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55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5040313 w 2"/>
              <a:gd name="T15" fmla="*/ 5040313 h 2"/>
              <a:gd name="T16" fmla="*/ 5040313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5040313 w 2"/>
              <a:gd name="T29" fmla="*/ 5040313 h 2"/>
              <a:gd name="T30" fmla="*/ 5040313 w 2"/>
              <a:gd name="T31" fmla="*/ 5040313 h 2"/>
              <a:gd name="T32" fmla="*/ 5040313 w 2"/>
              <a:gd name="T33" fmla="*/ 5040313 h 2"/>
              <a:gd name="T34" fmla="*/ 5040313 w 2"/>
              <a:gd name="T35" fmla="*/ 5040313 h 2"/>
              <a:gd name="T36" fmla="*/ 5040313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5040313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5040313 w 2"/>
              <a:gd name="T63" fmla="*/ 5040313 h 2"/>
              <a:gd name="T64" fmla="*/ 0 w 2"/>
              <a:gd name="T65" fmla="*/ 5040313 h 2"/>
              <a:gd name="T66" fmla="*/ 0 w 2"/>
              <a:gd name="T67" fmla="*/ 5040313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0 w 2"/>
              <a:gd name="T5" fmla="*/ 5040313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5040313 w 2"/>
              <a:gd name="T13" fmla="*/ 0 h 2"/>
              <a:gd name="T14" fmla="*/ 5040313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0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5040313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5040313 w 2"/>
              <a:gd name="T53" fmla="*/ 5040313 h 2"/>
              <a:gd name="T54" fmla="*/ 5040313 w 2"/>
              <a:gd name="T55" fmla="*/ 5040313 h 2"/>
              <a:gd name="T56" fmla="*/ 5040313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>
              <a:gd name="T0" fmla="*/ 5040313 w 2"/>
              <a:gd name="T1" fmla="*/ 10080625 h 4"/>
              <a:gd name="T2" fmla="*/ 5040313 w 2"/>
              <a:gd name="T3" fmla="*/ 10080625 h 4"/>
              <a:gd name="T4" fmla="*/ 5040313 w 2"/>
              <a:gd name="T5" fmla="*/ 10080625 h 4"/>
              <a:gd name="T6" fmla="*/ 5040313 w 2"/>
              <a:gd name="T7" fmla="*/ 5040313 h 4"/>
              <a:gd name="T8" fmla="*/ 5040313 w 2"/>
              <a:gd name="T9" fmla="*/ 0 h 4"/>
              <a:gd name="T10" fmla="*/ 5040313 w 2"/>
              <a:gd name="T11" fmla="*/ 0 h 4"/>
              <a:gd name="T12" fmla="*/ 5040313 w 2"/>
              <a:gd name="T13" fmla="*/ 0 h 4"/>
              <a:gd name="T14" fmla="*/ 0 w 2"/>
              <a:gd name="T15" fmla="*/ 5040313 h 4"/>
              <a:gd name="T16" fmla="*/ 5040313 w 2"/>
              <a:gd name="T17" fmla="*/ 10080625 h 4"/>
              <a:gd name="T18" fmla="*/ 5040313 w 2"/>
              <a:gd name="T19" fmla="*/ 5040313 h 4"/>
              <a:gd name="T20" fmla="*/ 5040313 w 2"/>
              <a:gd name="T21" fmla="*/ 5040313 h 4"/>
              <a:gd name="T22" fmla="*/ 5040313 w 2"/>
              <a:gd name="T23" fmla="*/ 0 h 4"/>
              <a:gd name="T24" fmla="*/ 5040313 w 2"/>
              <a:gd name="T25" fmla="*/ 5040313 h 4"/>
              <a:gd name="T26" fmla="*/ 5040313 w 2"/>
              <a:gd name="T27" fmla="*/ 5040313 h 4"/>
              <a:gd name="T28" fmla="*/ 5040313 w 2"/>
              <a:gd name="T29" fmla="*/ 5040313 h 4"/>
              <a:gd name="T30" fmla="*/ 5040313 w 2"/>
              <a:gd name="T31" fmla="*/ 5040313 h 4"/>
              <a:gd name="T32" fmla="*/ 5040313 w 2"/>
              <a:gd name="T33" fmla="*/ 5040313 h 4"/>
              <a:gd name="T34" fmla="*/ 5040313 w 2"/>
              <a:gd name="T35" fmla="*/ 5040313 h 4"/>
              <a:gd name="T36" fmla="*/ 5040313 w 2"/>
              <a:gd name="T37" fmla="*/ 5040313 h 4"/>
              <a:gd name="T38" fmla="*/ 5040313 w 2"/>
              <a:gd name="T39" fmla="*/ 5040313 h 4"/>
              <a:gd name="T40" fmla="*/ 5040313 w 2"/>
              <a:gd name="T41" fmla="*/ 5040313 h 4"/>
              <a:gd name="T42" fmla="*/ 5040313 w 2"/>
              <a:gd name="T43" fmla="*/ 5040313 h 4"/>
              <a:gd name="T44" fmla="*/ 5040313 w 2"/>
              <a:gd name="T45" fmla="*/ 5040313 h 4"/>
              <a:gd name="T46" fmla="*/ 5040313 w 2"/>
              <a:gd name="T47" fmla="*/ 5040313 h 4"/>
              <a:gd name="T48" fmla="*/ 5040313 w 2"/>
              <a:gd name="T49" fmla="*/ 5040313 h 4"/>
              <a:gd name="T50" fmla="*/ 5040313 w 2"/>
              <a:gd name="T51" fmla="*/ 5040313 h 4"/>
              <a:gd name="T52" fmla="*/ 0 w 2"/>
              <a:gd name="T53" fmla="*/ 5040313 h 4"/>
              <a:gd name="T54" fmla="*/ 5040313 w 2"/>
              <a:gd name="T55" fmla="*/ 10080625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>
              <a:gd name="T0" fmla="*/ 0 w 1587"/>
              <a:gd name="T1" fmla="*/ 10080625 h 4"/>
              <a:gd name="T2" fmla="*/ 0 w 1587"/>
              <a:gd name="T3" fmla="*/ 5040313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5040313 h 4"/>
              <a:gd name="T10" fmla="*/ 0 w 1587"/>
              <a:gd name="T11" fmla="*/ 5040313 h 4"/>
              <a:gd name="T12" fmla="*/ 0 w 1587"/>
              <a:gd name="T13" fmla="*/ 10080625 h 4"/>
              <a:gd name="T14" fmla="*/ 0 w 1587"/>
              <a:gd name="T15" fmla="*/ 5040313 h 4"/>
              <a:gd name="T16" fmla="*/ 0 w 1587"/>
              <a:gd name="T17" fmla="*/ 5040313 h 4"/>
              <a:gd name="T18" fmla="*/ 0 w 1587"/>
              <a:gd name="T19" fmla="*/ 5040313 h 4"/>
              <a:gd name="T20" fmla="*/ 0 w 1587"/>
              <a:gd name="T21" fmla="*/ 5040313 h 4"/>
              <a:gd name="T22" fmla="*/ 0 w 1587"/>
              <a:gd name="T23" fmla="*/ 5040313 h 4"/>
              <a:gd name="T24" fmla="*/ 0 w 1587"/>
              <a:gd name="T25" fmla="*/ 5040313 h 4"/>
              <a:gd name="T26" fmla="*/ 0 w 1587"/>
              <a:gd name="T27" fmla="*/ 5040313 h 4"/>
              <a:gd name="T28" fmla="*/ 0 w 1587"/>
              <a:gd name="T29" fmla="*/ 10080625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0 h 2"/>
              <a:gd name="T4" fmla="*/ 5040313 w 2"/>
              <a:gd name="T5" fmla="*/ 0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5040313 w 2"/>
              <a:gd name="T27" fmla="*/ 0 h 2"/>
              <a:gd name="T28" fmla="*/ 5040313 w 2"/>
              <a:gd name="T29" fmla="*/ 0 h 2"/>
              <a:gd name="T30" fmla="*/ 0 w 2"/>
              <a:gd name="T31" fmla="*/ 5040313 h 2"/>
              <a:gd name="T32" fmla="*/ 5040313 w 2"/>
              <a:gd name="T33" fmla="*/ 5040313 h 2"/>
              <a:gd name="T34" fmla="*/ 5040313 w 2"/>
              <a:gd name="T35" fmla="*/ 0 h 2"/>
              <a:gd name="T36" fmla="*/ 0 w 2"/>
              <a:gd name="T37" fmla="*/ 5040313 h 2"/>
              <a:gd name="T38" fmla="*/ 5040313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5040313 w 2"/>
              <a:gd name="T59" fmla="*/ 5040313 h 2"/>
              <a:gd name="T60" fmla="*/ 5040313 w 2"/>
              <a:gd name="T61" fmla="*/ 5040313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0 h 2"/>
              <a:gd name="T4" fmla="*/ 0 w 1587"/>
              <a:gd name="T5" fmla="*/ 5040313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>
              <a:gd name="T0" fmla="*/ 5040313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5040313 h 2"/>
              <a:gd name="T10" fmla="*/ 5040313 w 2"/>
              <a:gd name="T11" fmla="*/ 5040313 h 2"/>
              <a:gd name="T12" fmla="*/ 5040313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5040313 h 2"/>
              <a:gd name="T22" fmla="*/ 5040313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5040313 h 2"/>
              <a:gd name="T8" fmla="*/ 5040313 w 2"/>
              <a:gd name="T9" fmla="*/ 5040313 h 2"/>
              <a:gd name="T10" fmla="*/ 5040313 w 2"/>
              <a:gd name="T11" fmla="*/ 5040313 h 2"/>
              <a:gd name="T12" fmla="*/ 5040313 w 2"/>
              <a:gd name="T13" fmla="*/ 5040313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5040313 h 2"/>
              <a:gd name="T24" fmla="*/ 5040313 w 2"/>
              <a:gd name="T25" fmla="*/ 5040313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>
              <a:gd name="T0" fmla="*/ 5040313 w 4"/>
              <a:gd name="T1" fmla="*/ 5040313 h 2"/>
              <a:gd name="T2" fmla="*/ 5040313 w 4"/>
              <a:gd name="T3" fmla="*/ 5040313 h 2"/>
              <a:gd name="T4" fmla="*/ 10080625 w 4"/>
              <a:gd name="T5" fmla="*/ 5040313 h 2"/>
              <a:gd name="T6" fmla="*/ 10080625 w 4"/>
              <a:gd name="T7" fmla="*/ 0 h 2"/>
              <a:gd name="T8" fmla="*/ 10080625 w 4"/>
              <a:gd name="T9" fmla="*/ 0 h 2"/>
              <a:gd name="T10" fmla="*/ 5040313 w 4"/>
              <a:gd name="T11" fmla="*/ 0 h 2"/>
              <a:gd name="T12" fmla="*/ 5040313 w 4"/>
              <a:gd name="T13" fmla="*/ 0 h 2"/>
              <a:gd name="T14" fmla="*/ 0 w 4"/>
              <a:gd name="T15" fmla="*/ 5040313 h 2"/>
              <a:gd name="T16" fmla="*/ 5040313 w 4"/>
              <a:gd name="T17" fmla="*/ 5040313 h 2"/>
              <a:gd name="T18" fmla="*/ 5040313 w 4"/>
              <a:gd name="T19" fmla="*/ 0 h 2"/>
              <a:gd name="T20" fmla="*/ 10080625 w 4"/>
              <a:gd name="T21" fmla="*/ 5040313 h 2"/>
              <a:gd name="T22" fmla="*/ 10080625 w 4"/>
              <a:gd name="T23" fmla="*/ 0 h 2"/>
              <a:gd name="T24" fmla="*/ 10080625 w 4"/>
              <a:gd name="T25" fmla="*/ 0 h 2"/>
              <a:gd name="T26" fmla="*/ 5040313 w 4"/>
              <a:gd name="T27" fmla="*/ 0 h 2"/>
              <a:gd name="T28" fmla="*/ 5040313 w 4"/>
              <a:gd name="T29" fmla="*/ 0 h 2"/>
              <a:gd name="T30" fmla="*/ 0 w 4"/>
              <a:gd name="T31" fmla="*/ 0 h 2"/>
              <a:gd name="T32" fmla="*/ 5040313 w 4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0 w 2"/>
              <a:gd name="T39" fmla="*/ 5040313 h 2"/>
              <a:gd name="T40" fmla="*/ 0 w 2"/>
              <a:gd name="T41" fmla="*/ 5040313 h 2"/>
              <a:gd name="T42" fmla="*/ 0 w 2"/>
              <a:gd name="T43" fmla="*/ 5040313 h 2"/>
              <a:gd name="T44" fmla="*/ 0 w 2"/>
              <a:gd name="T45" fmla="*/ 5040313 h 2"/>
              <a:gd name="T46" fmla="*/ 0 w 2"/>
              <a:gd name="T47" fmla="*/ 5040313 h 2"/>
              <a:gd name="T48" fmla="*/ 0 w 2"/>
              <a:gd name="T49" fmla="*/ 5040313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0 w 2"/>
              <a:gd name="T57" fmla="*/ 5040313 h 2"/>
              <a:gd name="T58" fmla="*/ 0 w 2"/>
              <a:gd name="T59" fmla="*/ 5040313 h 2"/>
              <a:gd name="T60" fmla="*/ 0 w 2"/>
              <a:gd name="T61" fmla="*/ 5040313 h 2"/>
              <a:gd name="T62" fmla="*/ 0 w 2"/>
              <a:gd name="T63" fmla="*/ 5040313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5040313 h 2"/>
              <a:gd name="T40" fmla="*/ 0 w 2"/>
              <a:gd name="T41" fmla="*/ 5040313 h 2"/>
              <a:gd name="T42" fmla="*/ 5040313 w 2"/>
              <a:gd name="T43" fmla="*/ 5040313 h 2"/>
              <a:gd name="T44" fmla="*/ 5040313 w 2"/>
              <a:gd name="T45" fmla="*/ 0 h 2"/>
              <a:gd name="T46" fmla="*/ 5040313 w 2"/>
              <a:gd name="T47" fmla="*/ 0 h 2"/>
              <a:gd name="T48" fmla="*/ 5040313 w 2"/>
              <a:gd name="T49" fmla="*/ 0 h 2"/>
              <a:gd name="T50" fmla="*/ 5040313 w 2"/>
              <a:gd name="T51" fmla="*/ 0 h 2"/>
              <a:gd name="T52" fmla="*/ 5040313 w 2"/>
              <a:gd name="T53" fmla="*/ 0 h 2"/>
              <a:gd name="T54" fmla="*/ 5040313 w 2"/>
              <a:gd name="T55" fmla="*/ 0 h 2"/>
              <a:gd name="T56" fmla="*/ 5040313 w 2"/>
              <a:gd name="T57" fmla="*/ 0 h 2"/>
              <a:gd name="T58" fmla="*/ 5040313 w 2"/>
              <a:gd name="T59" fmla="*/ 0 h 2"/>
              <a:gd name="T60" fmla="*/ 5040313 w 2"/>
              <a:gd name="T61" fmla="*/ 0 h 2"/>
              <a:gd name="T62" fmla="*/ 5040313 w 2"/>
              <a:gd name="T63" fmla="*/ 0 h 2"/>
              <a:gd name="T64" fmla="*/ 5040313 w 2"/>
              <a:gd name="T65" fmla="*/ 0 h 2"/>
              <a:gd name="T66" fmla="*/ 5040313 w 2"/>
              <a:gd name="T67" fmla="*/ 5040313 h 2"/>
              <a:gd name="T68" fmla="*/ 5040313 w 2"/>
              <a:gd name="T69" fmla="*/ 0 h 2"/>
              <a:gd name="T70" fmla="*/ 5040313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5040313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0 w 2"/>
              <a:gd name="T3" fmla="*/ 7562056 h 3"/>
              <a:gd name="T4" fmla="*/ 5040313 w 2"/>
              <a:gd name="T5" fmla="*/ 7562056 h 3"/>
              <a:gd name="T6" fmla="*/ 5040313 w 2"/>
              <a:gd name="T7" fmla="*/ 7562056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0 w 2"/>
              <a:gd name="T19" fmla="*/ 7562056 h 3"/>
              <a:gd name="T20" fmla="*/ 0 w 2"/>
              <a:gd name="T21" fmla="*/ 7562056 h 3"/>
              <a:gd name="T22" fmla="*/ 0 w 2"/>
              <a:gd name="T23" fmla="*/ 0 h 3"/>
              <a:gd name="T24" fmla="*/ 0 w 2"/>
              <a:gd name="T25" fmla="*/ 7562056 h 3"/>
              <a:gd name="T26" fmla="*/ 0 w 2"/>
              <a:gd name="T27" fmla="*/ 7562056 h 3"/>
              <a:gd name="T28" fmla="*/ 0 w 2"/>
              <a:gd name="T29" fmla="*/ 7562056 h 3"/>
              <a:gd name="T30" fmla="*/ 0 w 2"/>
              <a:gd name="T31" fmla="*/ 7562056 h 3"/>
              <a:gd name="T32" fmla="*/ 0 w 2"/>
              <a:gd name="T33" fmla="*/ 7562056 h 3"/>
              <a:gd name="T34" fmla="*/ 0 w 2"/>
              <a:gd name="T35" fmla="*/ 7562056 h 3"/>
              <a:gd name="T36" fmla="*/ 0 w 2"/>
              <a:gd name="T37" fmla="*/ 7562056 h 3"/>
              <a:gd name="T38" fmla="*/ 0 w 2"/>
              <a:gd name="T39" fmla="*/ 7562056 h 3"/>
              <a:gd name="T40" fmla="*/ 0 w 2"/>
              <a:gd name="T41" fmla="*/ 7562056 h 3"/>
              <a:gd name="T42" fmla="*/ 0 w 2"/>
              <a:gd name="T43" fmla="*/ 7562056 h 3"/>
              <a:gd name="T44" fmla="*/ 0 w 2"/>
              <a:gd name="T45" fmla="*/ 7562056 h 3"/>
              <a:gd name="T46" fmla="*/ 0 w 2"/>
              <a:gd name="T47" fmla="*/ 7562056 h 3"/>
              <a:gd name="T48" fmla="*/ 0 w 2"/>
              <a:gd name="T49" fmla="*/ 7562056 h 3"/>
              <a:gd name="T50" fmla="*/ 0 w 2"/>
              <a:gd name="T51" fmla="*/ 7562056 h 3"/>
              <a:gd name="T52" fmla="*/ 0 w 2"/>
              <a:gd name="T53" fmla="*/ 7562056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0 h 2"/>
              <a:gd name="T8" fmla="*/ 5040313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5040313 w 2"/>
              <a:gd name="T21" fmla="*/ 5040313 h 2"/>
              <a:gd name="T22" fmla="*/ 5040313 w 2"/>
              <a:gd name="T23" fmla="*/ 0 h 2"/>
              <a:gd name="T24" fmla="*/ 5040313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5040313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>
              <a:gd name="T0" fmla="*/ 0 w 2"/>
              <a:gd name="T1" fmla="*/ 5040313 h 2"/>
              <a:gd name="T2" fmla="*/ 5040313 w 2"/>
              <a:gd name="T3" fmla="*/ 5040313 h 2"/>
              <a:gd name="T4" fmla="*/ 0 w 2"/>
              <a:gd name="T5" fmla="*/ 0 h 2"/>
              <a:gd name="T6" fmla="*/ 0 w 2"/>
              <a:gd name="T7" fmla="*/ 5040313 h 2"/>
              <a:gd name="T8" fmla="*/ 0 w 2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>
              <a:gd name="T0" fmla="*/ 5040313 w 2"/>
              <a:gd name="T1" fmla="*/ 0 h 2"/>
              <a:gd name="T2" fmla="*/ 5040313 w 2"/>
              <a:gd name="T3" fmla="*/ 0 h 2"/>
              <a:gd name="T4" fmla="*/ 5040313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5040313 h 2"/>
              <a:gd name="T12" fmla="*/ 5040313 w 2"/>
              <a:gd name="T13" fmla="*/ 0 h 2"/>
              <a:gd name="T14" fmla="*/ 5040313 w 2"/>
              <a:gd name="T15" fmla="*/ 0 h 2"/>
              <a:gd name="T16" fmla="*/ 5040313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5040313 h 2"/>
              <a:gd name="T24" fmla="*/ 5040313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5040313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5040313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>
              <a:gd name="T0" fmla="*/ 5040313 w 2"/>
              <a:gd name="T1" fmla="*/ 5040313 h 2"/>
              <a:gd name="T2" fmla="*/ 5040313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0 w 2"/>
              <a:gd name="T9" fmla="*/ 5040313 h 2"/>
              <a:gd name="T10" fmla="*/ 0 w 2"/>
              <a:gd name="T11" fmla="*/ 5040313 h 2"/>
              <a:gd name="T12" fmla="*/ 5040313 w 2"/>
              <a:gd name="T13" fmla="*/ 5040313 h 2"/>
              <a:gd name="T14" fmla="*/ 0 w 2"/>
              <a:gd name="T15" fmla="*/ 5040313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0 w 2"/>
              <a:gd name="T25" fmla="*/ 5040313 h 2"/>
              <a:gd name="T26" fmla="*/ 0 w 2"/>
              <a:gd name="T27" fmla="*/ 5040313 h 2"/>
              <a:gd name="T28" fmla="*/ 0 w 2"/>
              <a:gd name="T29" fmla="*/ 5040313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5040313 h 2"/>
              <a:gd name="T38" fmla="*/ 5040313 w 2"/>
              <a:gd name="T39" fmla="*/ 5040313 h 2"/>
              <a:gd name="T40" fmla="*/ 5040313 w 2"/>
              <a:gd name="T41" fmla="*/ 5040313 h 2"/>
              <a:gd name="T42" fmla="*/ 5040313 w 2"/>
              <a:gd name="T43" fmla="*/ 5040313 h 2"/>
              <a:gd name="T44" fmla="*/ 5040313 w 2"/>
              <a:gd name="T45" fmla="*/ 5040313 h 2"/>
              <a:gd name="T46" fmla="*/ 5040313 w 2"/>
              <a:gd name="T47" fmla="*/ 5040313 h 2"/>
              <a:gd name="T48" fmla="*/ 0 w 2"/>
              <a:gd name="T49" fmla="*/ 0 h 2"/>
              <a:gd name="T50" fmla="*/ 0 w 2"/>
              <a:gd name="T51" fmla="*/ 5040313 h 2"/>
              <a:gd name="T52" fmla="*/ 0 w 2"/>
              <a:gd name="T53" fmla="*/ 5040313 h 2"/>
              <a:gd name="T54" fmla="*/ 0 w 2"/>
              <a:gd name="T55" fmla="*/ 5040313 h 2"/>
              <a:gd name="T56" fmla="*/ 5040313 w 2"/>
              <a:gd name="T57" fmla="*/ 5040313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0 h 2"/>
              <a:gd name="T6" fmla="*/ 5040313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5040313 h 2"/>
              <a:gd name="T14" fmla="*/ 0 w 2"/>
              <a:gd name="T15" fmla="*/ 5040313 h 2"/>
              <a:gd name="T16" fmla="*/ 5040313 w 2"/>
              <a:gd name="T17" fmla="*/ 0 h 2"/>
              <a:gd name="T18" fmla="*/ 5040313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5040313 h 2"/>
              <a:gd name="T48" fmla="*/ 0 w 2"/>
              <a:gd name="T49" fmla="*/ 5040313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>
              <a:gd name="T0" fmla="*/ 5040313 w 2"/>
              <a:gd name="T1" fmla="*/ 0 h 1588"/>
              <a:gd name="T2" fmla="*/ 0 w 2"/>
              <a:gd name="T3" fmla="*/ 0 h 1588"/>
              <a:gd name="T4" fmla="*/ 5040313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>
              <a:gd name="T0" fmla="*/ 5040313 w 2"/>
              <a:gd name="T1" fmla="*/ 5040630 h 5"/>
              <a:gd name="T2" fmla="*/ 5040313 w 2"/>
              <a:gd name="T3" fmla="*/ 5040630 h 5"/>
              <a:gd name="T4" fmla="*/ 0 w 2"/>
              <a:gd name="T5" fmla="*/ 0 h 5"/>
              <a:gd name="T6" fmla="*/ 0 w 2"/>
              <a:gd name="T7" fmla="*/ 5040630 h 5"/>
              <a:gd name="T8" fmla="*/ 0 w 2"/>
              <a:gd name="T9" fmla="*/ 5040630 h 5"/>
              <a:gd name="T10" fmla="*/ 5040313 w 2"/>
              <a:gd name="T11" fmla="*/ 12602369 h 5"/>
              <a:gd name="T12" fmla="*/ 5040313 w 2"/>
              <a:gd name="T13" fmla="*/ 5040630 h 5"/>
              <a:gd name="T14" fmla="*/ 5040313 w 2"/>
              <a:gd name="T15" fmla="*/ 5040630 h 5"/>
              <a:gd name="T16" fmla="*/ 0 w 2"/>
              <a:gd name="T17" fmla="*/ 0 h 5"/>
              <a:gd name="T18" fmla="*/ 0 w 2"/>
              <a:gd name="T19" fmla="*/ 5040630 h 5"/>
              <a:gd name="T20" fmla="*/ 0 w 2"/>
              <a:gd name="T21" fmla="*/ 5040630 h 5"/>
              <a:gd name="T22" fmla="*/ 5040313 w 2"/>
              <a:gd name="T23" fmla="*/ 12602369 h 5"/>
              <a:gd name="T24" fmla="*/ 5040313 w 2"/>
              <a:gd name="T25" fmla="*/ 5040630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>
              <a:gd name="T0" fmla="*/ 0 w 2"/>
              <a:gd name="T1" fmla="*/ 0 h 1587"/>
              <a:gd name="T2" fmla="*/ 5040313 w 2"/>
              <a:gd name="T3" fmla="*/ 0 h 1587"/>
              <a:gd name="T4" fmla="*/ 5040313 w 2"/>
              <a:gd name="T5" fmla="*/ 0 h 1587"/>
              <a:gd name="T6" fmla="*/ 5040313 w 2"/>
              <a:gd name="T7" fmla="*/ 0 h 1587"/>
              <a:gd name="T8" fmla="*/ 5040313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5040313 w 2"/>
              <a:gd name="T19" fmla="*/ 0 h 1587"/>
              <a:gd name="T20" fmla="*/ 5040313 w 2"/>
              <a:gd name="T21" fmla="*/ 0 h 1587"/>
              <a:gd name="T22" fmla="*/ 5040313 w 2"/>
              <a:gd name="T23" fmla="*/ 0 h 1587"/>
              <a:gd name="T24" fmla="*/ 5040313 w 2"/>
              <a:gd name="T25" fmla="*/ 0 h 1587"/>
              <a:gd name="T26" fmla="*/ 5040313 w 2"/>
              <a:gd name="T27" fmla="*/ 0 h 1587"/>
              <a:gd name="T28" fmla="*/ 5040313 w 2"/>
              <a:gd name="T29" fmla="*/ 0 h 1587"/>
              <a:gd name="T30" fmla="*/ 5040313 w 2"/>
              <a:gd name="T31" fmla="*/ 0 h 1587"/>
              <a:gd name="T32" fmla="*/ 5040313 w 2"/>
              <a:gd name="T33" fmla="*/ 0 h 1587"/>
              <a:gd name="T34" fmla="*/ 5040313 w 2"/>
              <a:gd name="T35" fmla="*/ 0 h 1587"/>
              <a:gd name="T36" fmla="*/ 5040313 w 2"/>
              <a:gd name="T37" fmla="*/ 0 h 1587"/>
              <a:gd name="T38" fmla="*/ 5040313 w 2"/>
              <a:gd name="T39" fmla="*/ 0 h 1587"/>
              <a:gd name="T40" fmla="*/ 5040313 w 2"/>
              <a:gd name="T41" fmla="*/ 0 h 1587"/>
              <a:gd name="T42" fmla="*/ 5040313 w 2"/>
              <a:gd name="T43" fmla="*/ 0 h 1587"/>
              <a:gd name="T44" fmla="*/ 5040313 w 2"/>
              <a:gd name="T45" fmla="*/ 0 h 1587"/>
              <a:gd name="T46" fmla="*/ 5040313 w 2"/>
              <a:gd name="T47" fmla="*/ 0 h 1587"/>
              <a:gd name="T48" fmla="*/ 5040313 w 2"/>
              <a:gd name="T49" fmla="*/ 0 h 1587"/>
              <a:gd name="T50" fmla="*/ 5040313 w 2"/>
              <a:gd name="T51" fmla="*/ 0 h 1587"/>
              <a:gd name="T52" fmla="*/ 5040313 w 2"/>
              <a:gd name="T53" fmla="*/ 0 h 1587"/>
              <a:gd name="T54" fmla="*/ 5040313 w 2"/>
              <a:gd name="T55" fmla="*/ 0 h 1587"/>
              <a:gd name="T56" fmla="*/ 5040313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>
              <a:gd name="T0" fmla="*/ 0 w 2"/>
              <a:gd name="T1" fmla="*/ 7562056 h 3"/>
              <a:gd name="T2" fmla="*/ 5040313 w 2"/>
              <a:gd name="T3" fmla="*/ 0 h 3"/>
              <a:gd name="T4" fmla="*/ 5040313 w 2"/>
              <a:gd name="T5" fmla="*/ 0 h 3"/>
              <a:gd name="T6" fmla="*/ 5040313 w 2"/>
              <a:gd name="T7" fmla="*/ 0 h 3"/>
              <a:gd name="T8" fmla="*/ 5040313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7562056 h 3"/>
              <a:gd name="T16" fmla="*/ 0 w 2"/>
              <a:gd name="T17" fmla="*/ 7562056 h 3"/>
              <a:gd name="T18" fmla="*/ 5040313 w 2"/>
              <a:gd name="T19" fmla="*/ 0 h 3"/>
              <a:gd name="T20" fmla="*/ 5040313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7562056 h 3"/>
              <a:gd name="T40" fmla="*/ 0 w 2"/>
              <a:gd name="T41" fmla="*/ 7562056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>
              <a:gd name="T0" fmla="*/ 0 w 1587"/>
              <a:gd name="T1" fmla="*/ 5040313 h 2"/>
              <a:gd name="T2" fmla="*/ 0 w 1587"/>
              <a:gd name="T3" fmla="*/ 5040313 h 2"/>
              <a:gd name="T4" fmla="*/ 0 w 1587"/>
              <a:gd name="T5" fmla="*/ 0 h 2"/>
              <a:gd name="T6" fmla="*/ 0 w 1587"/>
              <a:gd name="T7" fmla="*/ 5040313 h 2"/>
              <a:gd name="T8" fmla="*/ 0 w 1587"/>
              <a:gd name="T9" fmla="*/ 5040313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>
              <a:gd name="T0" fmla="*/ 0 w 2"/>
              <a:gd name="T1" fmla="*/ 0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5040313 h 2"/>
              <a:gd name="T18" fmla="*/ 0 w 2"/>
              <a:gd name="T19" fmla="*/ 5040313 h 2"/>
              <a:gd name="T20" fmla="*/ 0 w 2"/>
              <a:gd name="T21" fmla="*/ 5040313 h 2"/>
              <a:gd name="T22" fmla="*/ 0 w 2"/>
              <a:gd name="T23" fmla="*/ 5040313 h 2"/>
              <a:gd name="T24" fmla="*/ 5040313 w 2"/>
              <a:gd name="T25" fmla="*/ 5040313 h 2"/>
              <a:gd name="T26" fmla="*/ 5040313 w 2"/>
              <a:gd name="T27" fmla="*/ 5040313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>
              <a:gd name="T0" fmla="*/ 0 w 2"/>
              <a:gd name="T1" fmla="*/ 5040313 h 2"/>
              <a:gd name="T2" fmla="*/ 0 w 2"/>
              <a:gd name="T3" fmla="*/ 5040313 h 2"/>
              <a:gd name="T4" fmla="*/ 5040313 w 2"/>
              <a:gd name="T5" fmla="*/ 5040313 h 2"/>
              <a:gd name="T6" fmla="*/ 5040313 w 2"/>
              <a:gd name="T7" fmla="*/ 5040313 h 2"/>
              <a:gd name="T8" fmla="*/ 5040313 w 2"/>
              <a:gd name="T9" fmla="*/ 5040313 h 2"/>
              <a:gd name="T10" fmla="*/ 5040313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5040313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5040313 h 2"/>
              <a:gd name="T32" fmla="*/ 0 w 2"/>
              <a:gd name="T33" fmla="*/ 5040313 h 2"/>
              <a:gd name="T34" fmla="*/ 0 w 2"/>
              <a:gd name="T35" fmla="*/ 5040313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5040313 h 2"/>
              <a:gd name="T50" fmla="*/ 5040313 w 2"/>
              <a:gd name="T51" fmla="*/ 5040313 h 2"/>
              <a:gd name="T52" fmla="*/ 5040313 w 2"/>
              <a:gd name="T53" fmla="*/ 0 h 2"/>
              <a:gd name="T54" fmla="*/ 5040313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5040313 h 2"/>
              <a:gd name="T62" fmla="*/ 0 w 2"/>
              <a:gd name="T63" fmla="*/ 5040313 h 2"/>
              <a:gd name="T64" fmla="*/ 5040313 w 2"/>
              <a:gd name="T65" fmla="*/ 5040313 h 2"/>
              <a:gd name="T66" fmla="*/ 5040313 w 2"/>
              <a:gd name="T67" fmla="*/ 5040313 h 2"/>
              <a:gd name="T68" fmla="*/ 0 w 2"/>
              <a:gd name="T69" fmla="*/ 5040313 h 2"/>
              <a:gd name="T70" fmla="*/ 0 w 2"/>
              <a:gd name="T71" fmla="*/ 5040313 h 2"/>
              <a:gd name="T72" fmla="*/ 0 w 2"/>
              <a:gd name="T73" fmla="*/ 5040313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50000"/>
              </a:spcBef>
              <a:buFontTx/>
              <a:buChar char="•"/>
            </a:pPr>
            <a:endParaRPr lang="en-US" sz="1300" b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1" y="1460500"/>
            <a:ext cx="8440305" cy="4600863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1200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120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360362" y="6356350"/>
            <a:ext cx="72675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8" name="Rectangle 9"/>
          <p:cNvSpPr>
            <a:spLocks noChangeArrowheads="1"/>
          </p:cNvSpPr>
          <p:nvPr userDrawn="1"/>
        </p:nvSpPr>
        <p:spPr bwMode="auto">
          <a:xfrm>
            <a:off x="0" y="1100138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69" name="Title 1"/>
          <p:cNvSpPr>
            <a:spLocks noGrp="1"/>
          </p:cNvSpPr>
          <p:nvPr>
            <p:ph type="title"/>
          </p:nvPr>
        </p:nvSpPr>
        <p:spPr>
          <a:xfrm>
            <a:off x="356935" y="301626"/>
            <a:ext cx="7194572" cy="756707"/>
          </a:xfrm>
        </p:spPr>
        <p:txBody>
          <a:bodyPr/>
          <a:lstStyle>
            <a:lvl1pPr>
              <a:defRPr lang="en-US" sz="2800" b="1" i="0" cap="none" baseline="0" dirty="0" smtClean="0">
                <a:solidFill>
                  <a:srgbClr val="021F43"/>
                </a:solidFill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1" name="Picture 7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842133" y="215920"/>
            <a:ext cx="1158030" cy="741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178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with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0" y="1028350"/>
            <a:ext cx="9144000" cy="176212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115888" indent="-115888">
              <a:spcBef>
                <a:spcPct val="50000"/>
              </a:spcBef>
              <a:buFontTx/>
              <a:buChar char="•"/>
            </a:pPr>
            <a:endParaRPr lang="en-US" sz="1300" b="0">
              <a:solidFill>
                <a:schemeClr val="bg1"/>
              </a:solidFill>
            </a:endParaRPr>
          </a:p>
        </p:txBody>
      </p:sp>
      <p:sp>
        <p:nvSpPr>
          <p:cNvPr id="5" name="Freeform 1682"/>
          <p:cNvSpPr>
            <a:spLocks/>
          </p:cNvSpPr>
          <p:nvPr/>
        </p:nvSpPr>
        <p:spPr bwMode="auto">
          <a:xfrm flipH="1">
            <a:off x="6380163" y="615950"/>
            <a:ext cx="1014412" cy="1895475"/>
          </a:xfrm>
          <a:custGeom>
            <a:avLst/>
            <a:gdLst>
              <a:gd name="T0" fmla="*/ 0 w 638"/>
              <a:gd name="T1" fmla="*/ 0 h 1194"/>
              <a:gd name="T2" fmla="*/ 96067042 w 638"/>
              <a:gd name="T3" fmla="*/ 277217188 h 1194"/>
              <a:gd name="T4" fmla="*/ 197188655 w 638"/>
              <a:gd name="T5" fmla="*/ 544353750 h 1194"/>
              <a:gd name="T6" fmla="*/ 267974897 w 638"/>
              <a:gd name="T7" fmla="*/ 766127500 h 1194"/>
              <a:gd name="T8" fmla="*/ 343815709 w 638"/>
              <a:gd name="T9" fmla="*/ 1003022188 h 1194"/>
              <a:gd name="T10" fmla="*/ 414601950 w 638"/>
              <a:gd name="T11" fmla="*/ 1275199063 h 1194"/>
              <a:gd name="T12" fmla="*/ 520779723 w 638"/>
              <a:gd name="T13" fmla="*/ 1693545000 h 1194"/>
              <a:gd name="T14" fmla="*/ 596622125 w 638"/>
              <a:gd name="T15" fmla="*/ 1985883125 h 1194"/>
              <a:gd name="T16" fmla="*/ 687633007 w 638"/>
              <a:gd name="T17" fmla="*/ 2147483647 h 1194"/>
              <a:gd name="T18" fmla="*/ 723024538 w 638"/>
              <a:gd name="T19" fmla="*/ 2147483647 h 1194"/>
              <a:gd name="T20" fmla="*/ 763473819 w 638"/>
              <a:gd name="T21" fmla="*/ 2147483647 h 1194"/>
              <a:gd name="T22" fmla="*/ 1612902360 w 638"/>
              <a:gd name="T23" fmla="*/ 2147483647 h 1194"/>
              <a:gd name="T24" fmla="*/ 1577509239 w 638"/>
              <a:gd name="T25" fmla="*/ 2147483647 h 1194"/>
              <a:gd name="T26" fmla="*/ 1511780748 w 638"/>
              <a:gd name="T27" fmla="*/ 2147483647 h 1194"/>
              <a:gd name="T28" fmla="*/ 1446050666 w 638"/>
              <a:gd name="T29" fmla="*/ 2147483647 h 1194"/>
              <a:gd name="T30" fmla="*/ 1385376744 w 638"/>
              <a:gd name="T31" fmla="*/ 2147483647 h 1194"/>
              <a:gd name="T32" fmla="*/ 1248862011 w 638"/>
              <a:gd name="T33" fmla="*/ 1975802500 h 1194"/>
              <a:gd name="T34" fmla="*/ 1152794969 w 638"/>
              <a:gd name="T35" fmla="*/ 1759069063 h 1194"/>
              <a:gd name="T36" fmla="*/ 1071897997 w 638"/>
              <a:gd name="T37" fmla="*/ 1577617813 h 1194"/>
              <a:gd name="T38" fmla="*/ 955606314 w 638"/>
              <a:gd name="T39" fmla="*/ 1340723125 h 1194"/>
              <a:gd name="T40" fmla="*/ 859540861 w 638"/>
              <a:gd name="T41" fmla="*/ 1184473438 h 1194"/>
              <a:gd name="T42" fmla="*/ 773586139 w 638"/>
              <a:gd name="T43" fmla="*/ 1043344688 h 1194"/>
              <a:gd name="T44" fmla="*/ 677520687 w 638"/>
              <a:gd name="T45" fmla="*/ 861893438 h 1194"/>
              <a:gd name="T46" fmla="*/ 576397484 w 638"/>
              <a:gd name="T47" fmla="*/ 720764688 h 1194"/>
              <a:gd name="T48" fmla="*/ 439882751 w 638"/>
              <a:gd name="T49" fmla="*/ 529232813 h 1194"/>
              <a:gd name="T50" fmla="*/ 308422588 w 638"/>
              <a:gd name="T51" fmla="*/ 352821875 h 1194"/>
              <a:gd name="T52" fmla="*/ 146627054 w 638"/>
              <a:gd name="T53" fmla="*/ 131048125 h 1194"/>
              <a:gd name="T54" fmla="*/ 75842402 w 638"/>
              <a:gd name="T55" fmla="*/ 50403125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Freeform 1683"/>
          <p:cNvSpPr>
            <a:spLocks/>
          </p:cNvSpPr>
          <p:nvPr/>
        </p:nvSpPr>
        <p:spPr bwMode="auto">
          <a:xfrm flipH="1">
            <a:off x="7410450" y="3175"/>
            <a:ext cx="712788" cy="584200"/>
          </a:xfrm>
          <a:custGeom>
            <a:avLst/>
            <a:gdLst>
              <a:gd name="T0" fmla="*/ 1134077529 w 448"/>
              <a:gd name="T1" fmla="*/ 917445269 h 372"/>
              <a:gd name="T2" fmla="*/ 982191634 w 448"/>
              <a:gd name="T3" fmla="*/ 744807887 h 372"/>
              <a:gd name="T4" fmla="*/ 708799251 w 448"/>
              <a:gd name="T5" fmla="*/ 512979424 h 372"/>
              <a:gd name="T6" fmla="*/ 531598245 w 448"/>
              <a:gd name="T7" fmla="*/ 350207484 h 372"/>
              <a:gd name="T8" fmla="*/ 354398830 w 448"/>
              <a:gd name="T9" fmla="*/ 231826892 h 372"/>
              <a:gd name="T10" fmla="*/ 162011303 w 448"/>
              <a:gd name="T11" fmla="*/ 108515150 h 372"/>
              <a:gd name="T12" fmla="*/ 0 w 448"/>
              <a:gd name="T13" fmla="*/ 0 h 372"/>
              <a:gd name="T14" fmla="*/ 708799251 w 448"/>
              <a:gd name="T15" fmla="*/ 0 h 372"/>
              <a:gd name="T16" fmla="*/ 759426292 w 448"/>
              <a:gd name="T17" fmla="*/ 88784266 h 372"/>
              <a:gd name="T18" fmla="*/ 820180331 w 448"/>
              <a:gd name="T19" fmla="*/ 202232137 h 372"/>
              <a:gd name="T20" fmla="*/ 875871667 w 448"/>
              <a:gd name="T21" fmla="*/ 330478171 h 372"/>
              <a:gd name="T22" fmla="*/ 956878114 w 448"/>
              <a:gd name="T23" fmla="*/ 508048274 h 372"/>
              <a:gd name="T24" fmla="*/ 1032820266 w 448"/>
              <a:gd name="T25" fmla="*/ 651090900 h 372"/>
              <a:gd name="T26" fmla="*/ 1098637009 w 448"/>
              <a:gd name="T27" fmla="*/ 823728282 h 372"/>
              <a:gd name="T28" fmla="*/ 1134077529 w 448"/>
              <a:gd name="T29" fmla="*/ 917445269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56935" y="301625"/>
            <a:ext cx="7102104" cy="667338"/>
          </a:xfrm>
        </p:spPr>
        <p:txBody>
          <a:bodyPr/>
          <a:lstStyle>
            <a:lvl1pPr>
              <a:defRPr sz="2800" b="1" i="0" cap="none" baseline="0">
                <a:solidFill>
                  <a:srgbClr val="021F4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56934" y="1845422"/>
            <a:ext cx="8440305" cy="4215941"/>
          </a:xfrm>
        </p:spPr>
        <p:txBody>
          <a:bodyPr/>
          <a:lstStyle>
            <a:lvl1pPr>
              <a:defRPr>
                <a:solidFill>
                  <a:srgbClr val="7F7F7F"/>
                </a:solidFill>
              </a:defRPr>
            </a:lvl1pPr>
            <a:lvl2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557784"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56934" y="1204562"/>
            <a:ext cx="8435473" cy="64086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600" b="0" cap="none" baseline="0">
                <a:solidFill>
                  <a:schemeClr val="tx1"/>
                </a:solidFill>
              </a:defRPr>
            </a:lvl1pPr>
            <a:lvl2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 cap="all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16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6D3588-6B1C-45CC-9EF0-F8374B49377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85" r="25515" b="48479"/>
          <a:stretch/>
        </p:blipFill>
        <p:spPr>
          <a:xfrm>
            <a:off x="7695344" y="40844"/>
            <a:ext cx="1448656" cy="92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139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image" Target="../media/image9.jpeg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847975" y="6356350"/>
            <a:ext cx="5600700" cy="328613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r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84213" y="6329363"/>
            <a:ext cx="2133600" cy="365125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>
              <a:defRPr sz="1400" b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02" r:id="rId1"/>
    <p:sldLayoutId id="2147485403" r:id="rId2"/>
    <p:sldLayoutId id="2147485404" r:id="rId3"/>
    <p:sldLayoutId id="2147485486" r:id="rId4"/>
    <p:sldLayoutId id="2147485488" r:id="rId5"/>
    <p:sldLayoutId id="2147485514" r:id="rId6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cap="all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Arial Bold" charset="0"/>
          <a:ea typeface="MS PGothic" pitchFamily="34" charset="-128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4763" indent="909638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defRPr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/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A9660D9-7752-489B-BDF8-9A9060DE1D4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2708986" y="6171339"/>
            <a:ext cx="6132662" cy="548640"/>
            <a:chOff x="-5074876" y="5639018"/>
            <a:chExt cx="10303630" cy="921781"/>
          </a:xfrm>
        </p:grpSpPr>
        <p:pic>
          <p:nvPicPr>
            <p:cNvPr id="12" name="Picture 6">
              <a:extLst>
                <a:ext uri="{FF2B5EF4-FFF2-40B4-BE49-F238E27FC236}">
                  <a16:creationId xmlns:a16="http://schemas.microsoft.com/office/drawing/2014/main" id="{652F06F5-5C03-436A-8D4A-6B06BB9F17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3006" y="5715833"/>
              <a:ext cx="3915748" cy="768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BD4770F-3544-4585-900C-FC11BDC67514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5074876" y="5639018"/>
              <a:ext cx="3017549" cy="921781"/>
            </a:xfrm>
            <a:prstGeom prst="rect">
              <a:avLst/>
            </a:prstGeom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90A2ACB3-D450-4513-973D-C451615370F6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4586406" y="6217059"/>
            <a:ext cx="1745313" cy="457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405" r:id="rId1"/>
    <p:sldLayoutId id="2147485406" r:id="rId2"/>
    <p:sldLayoutId id="2147485407" r:id="rId3"/>
    <p:sldLayoutId id="2147485390" r:id="rId4"/>
    <p:sldLayoutId id="2147485391" r:id="rId5"/>
    <p:sldLayoutId id="2147485392" r:id="rId6"/>
    <p:sldLayoutId id="2147485393" r:id="rId7"/>
    <p:sldLayoutId id="2147485394" r:id="rId8"/>
    <p:sldLayoutId id="2147485395" r:id="rId9"/>
    <p:sldLayoutId id="2147485408" r:id="rId10"/>
    <p:sldLayoutId id="2147485396" r:id="rId11"/>
    <p:sldLayoutId id="2147485409" r:id="rId12"/>
    <p:sldLayoutId id="2147485397" r:id="rId13"/>
    <p:sldLayoutId id="2147485398" r:id="rId14"/>
    <p:sldLayoutId id="2147485399" r:id="rId15"/>
    <p:sldLayoutId id="2147485400" r:id="rId16"/>
    <p:sldLayoutId id="2147485410" r:id="rId17"/>
    <p:sldLayoutId id="2147485401" r:id="rId18"/>
    <p:sldLayoutId id="2147485480" r:id="rId19"/>
    <p:sldLayoutId id="2147485481" r:id="rId20"/>
    <p:sldLayoutId id="2147485482" r:id="rId21"/>
    <p:sldLayoutId id="2147485483" r:id="rId22"/>
    <p:sldLayoutId id="2147485484" r:id="rId23"/>
    <p:sldLayoutId id="2147485515" r:id="rId24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96CE96-045B-40ED-8D02-354C03B54DA5}" type="datetimeFigureOut">
              <a:rPr lang="en-US" smtClean="0"/>
              <a:t>3/12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A431D4-9671-420E-A765-37A088AC863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624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17" r:id="rId1"/>
    <p:sldLayoutId id="2147485518" r:id="rId2"/>
    <p:sldLayoutId id="2147485519" r:id="rId3"/>
    <p:sldLayoutId id="2147485520" r:id="rId4"/>
    <p:sldLayoutId id="2147485521" r:id="rId5"/>
    <p:sldLayoutId id="2147485522" r:id="rId6"/>
    <p:sldLayoutId id="2147485523" r:id="rId7"/>
    <p:sldLayoutId id="2147485524" r:id="rId8"/>
    <p:sldLayoutId id="2147485525" r:id="rId9"/>
    <p:sldLayoutId id="2147485526" r:id="rId10"/>
    <p:sldLayoutId id="21474855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84"/>
          <p:cNvSpPr>
            <a:spLocks/>
          </p:cNvSpPr>
          <p:nvPr/>
        </p:nvSpPr>
        <p:spPr bwMode="auto">
          <a:xfrm flipH="1">
            <a:off x="8189913" y="6323013"/>
            <a:ext cx="349250" cy="534987"/>
          </a:xfrm>
          <a:custGeom>
            <a:avLst/>
            <a:gdLst>
              <a:gd name="T0" fmla="*/ 0 w 638"/>
              <a:gd name="T1" fmla="*/ 0 h 1194"/>
              <a:gd name="T2" fmla="*/ 11387302 w 638"/>
              <a:gd name="T3" fmla="*/ 22083672 h 1194"/>
              <a:gd name="T4" fmla="*/ 23373474 w 638"/>
              <a:gd name="T5" fmla="*/ 43364415 h 1194"/>
              <a:gd name="T6" fmla="*/ 31764233 w 638"/>
              <a:gd name="T7" fmla="*/ 61031084 h 1194"/>
              <a:gd name="T8" fmla="*/ 40753862 w 638"/>
              <a:gd name="T9" fmla="*/ 79902594 h 1194"/>
              <a:gd name="T10" fmla="*/ 49144621 w 638"/>
              <a:gd name="T11" fmla="*/ 101584801 h 1194"/>
              <a:gd name="T12" fmla="*/ 61730211 w 638"/>
              <a:gd name="T13" fmla="*/ 134910817 h 1194"/>
              <a:gd name="T14" fmla="*/ 70720388 w 638"/>
              <a:gd name="T15" fmla="*/ 158198882 h 1194"/>
              <a:gd name="T16" fmla="*/ 81508272 w 638"/>
              <a:gd name="T17" fmla="*/ 198752599 h 1194"/>
              <a:gd name="T18" fmla="*/ 85703103 w 638"/>
              <a:gd name="T19" fmla="*/ 218025573 h 1194"/>
              <a:gd name="T20" fmla="*/ 90497901 w 638"/>
              <a:gd name="T21" fmla="*/ 239707781 h 1194"/>
              <a:gd name="T22" fmla="*/ 191184267 w 638"/>
              <a:gd name="T23" fmla="*/ 239707781 h 1194"/>
              <a:gd name="T24" fmla="*/ 186988888 w 638"/>
              <a:gd name="T25" fmla="*/ 229268365 h 1194"/>
              <a:gd name="T26" fmla="*/ 179197547 w 638"/>
              <a:gd name="T27" fmla="*/ 212806089 h 1194"/>
              <a:gd name="T28" fmla="*/ 171406754 w 638"/>
              <a:gd name="T29" fmla="*/ 196745278 h 1194"/>
              <a:gd name="T30" fmla="*/ 164214832 w 638"/>
              <a:gd name="T31" fmla="*/ 183093252 h 1194"/>
              <a:gd name="T32" fmla="*/ 148032733 w 638"/>
              <a:gd name="T33" fmla="*/ 157395953 h 1194"/>
              <a:gd name="T34" fmla="*/ 136645978 w 638"/>
              <a:gd name="T35" fmla="*/ 140130749 h 1194"/>
              <a:gd name="T36" fmla="*/ 127056384 w 638"/>
              <a:gd name="T37" fmla="*/ 125675795 h 1194"/>
              <a:gd name="T38" fmla="*/ 113271957 w 638"/>
              <a:gd name="T39" fmla="*/ 106804285 h 1194"/>
              <a:gd name="T40" fmla="*/ 101885203 w 638"/>
              <a:gd name="T41" fmla="*/ 94357548 h 1194"/>
              <a:gd name="T42" fmla="*/ 91696737 w 638"/>
              <a:gd name="T43" fmla="*/ 83114756 h 1194"/>
              <a:gd name="T44" fmla="*/ 80309435 w 638"/>
              <a:gd name="T45" fmla="*/ 68659801 h 1194"/>
              <a:gd name="T46" fmla="*/ 68322716 w 638"/>
              <a:gd name="T47" fmla="*/ 57417457 h 1194"/>
              <a:gd name="T48" fmla="*/ 52141164 w 638"/>
              <a:gd name="T49" fmla="*/ 42159574 h 1194"/>
              <a:gd name="T50" fmla="*/ 36558483 w 638"/>
              <a:gd name="T51" fmla="*/ 28106532 h 1194"/>
              <a:gd name="T52" fmla="*/ 17380388 w 638"/>
              <a:gd name="T53" fmla="*/ 10439416 h 1194"/>
              <a:gd name="T54" fmla="*/ 8989629 w 638"/>
              <a:gd name="T55" fmla="*/ 4015091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1" name="Freeform 85"/>
          <p:cNvSpPr>
            <a:spLocks/>
          </p:cNvSpPr>
          <p:nvPr/>
        </p:nvSpPr>
        <p:spPr bwMode="auto">
          <a:xfrm flipH="1">
            <a:off x="8545513" y="6146800"/>
            <a:ext cx="246062" cy="165100"/>
          </a:xfrm>
          <a:custGeom>
            <a:avLst/>
            <a:gdLst>
              <a:gd name="T0" fmla="*/ 135148455 w 448"/>
              <a:gd name="T1" fmla="*/ 73274220 h 372"/>
              <a:gd name="T2" fmla="*/ 117048068 w 448"/>
              <a:gd name="T3" fmla="*/ 59486151 h 372"/>
              <a:gd name="T4" fmla="*/ 84467922 w 448"/>
              <a:gd name="T5" fmla="*/ 40970541 h 372"/>
              <a:gd name="T6" fmla="*/ 63351079 w 448"/>
              <a:gd name="T7" fmla="*/ 27970248 h 372"/>
              <a:gd name="T8" fmla="*/ 42233686 w 448"/>
              <a:gd name="T9" fmla="*/ 18515610 h 372"/>
              <a:gd name="T10" fmla="*/ 19307079 w 448"/>
              <a:gd name="T11" fmla="*/ 8666862 h 372"/>
              <a:gd name="T12" fmla="*/ 0 w 448"/>
              <a:gd name="T13" fmla="*/ 0 h 372"/>
              <a:gd name="T14" fmla="*/ 84467922 w 448"/>
              <a:gd name="T15" fmla="*/ 0 h 372"/>
              <a:gd name="T16" fmla="*/ 90501384 w 448"/>
              <a:gd name="T17" fmla="*/ 7090867 h 372"/>
              <a:gd name="T18" fmla="*/ 97741539 w 448"/>
              <a:gd name="T19" fmla="*/ 16151840 h 372"/>
              <a:gd name="T20" fmla="*/ 104378072 w 448"/>
              <a:gd name="T21" fmla="*/ 26394697 h 372"/>
              <a:gd name="T22" fmla="*/ 114031612 w 448"/>
              <a:gd name="T23" fmla="*/ 40576432 h 372"/>
              <a:gd name="T24" fmla="*/ 123081531 w 448"/>
              <a:gd name="T25" fmla="*/ 52001174 h 372"/>
              <a:gd name="T26" fmla="*/ 130925306 w 448"/>
              <a:gd name="T27" fmla="*/ 65789243 h 372"/>
              <a:gd name="T28" fmla="*/ 135148455 w 448"/>
              <a:gd name="T29" fmla="*/ 73274220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/>
          <a:lstStyle/>
          <a:p>
            <a:endParaRPr lang="en-US">
              <a:solidFill>
                <a:srgbClr val="021F43"/>
              </a:solidFill>
            </a:endParaRPr>
          </a:p>
        </p:txBody>
      </p:sp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7188" y="301625"/>
            <a:ext cx="8461375" cy="120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8" y="1697038"/>
            <a:ext cx="8478837" cy="438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Paragraph content</a:t>
            </a:r>
          </a:p>
          <a:p>
            <a:pPr lvl="1"/>
            <a:r>
              <a:rPr lang="en-US" dirty="0"/>
              <a:t>Bullets</a:t>
            </a:r>
          </a:p>
          <a:p>
            <a:pPr lvl="5"/>
            <a:r>
              <a:rPr lang="en-US" dirty="0"/>
              <a:t>Bullets</a:t>
            </a:r>
          </a:p>
          <a:p>
            <a:pPr lvl="3"/>
            <a:r>
              <a:rPr lang="en-US" dirty="0"/>
              <a:t>Bullets</a:t>
            </a:r>
          </a:p>
          <a:p>
            <a:pPr lvl="4"/>
            <a:r>
              <a:rPr lang="en-US" dirty="0"/>
              <a:t>Bullets</a:t>
            </a:r>
          </a:p>
        </p:txBody>
      </p:sp>
      <p:sp>
        <p:nvSpPr>
          <p:cNvPr id="2054" name="TextBox 7"/>
          <p:cNvSpPr txBox="1">
            <a:spLocks noChangeArrowheads="1"/>
          </p:cNvSpPr>
          <p:nvPr/>
        </p:nvSpPr>
        <p:spPr bwMode="auto">
          <a:xfrm>
            <a:off x="8683625" y="6207125"/>
            <a:ext cx="18415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>
              <a:solidFill>
                <a:srgbClr val="021F43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60363" y="6356350"/>
            <a:ext cx="317500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fld id="{1278FDC0-69C8-4E1A-B751-B4BF4EA2AB12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1363" y="6356350"/>
            <a:ext cx="5915025" cy="36512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100" b="0" baseline="0">
                <a:solidFill>
                  <a:schemeClr val="tx2">
                    <a:lumMod val="65000"/>
                    <a:lumOff val="35000"/>
                  </a:schemeClr>
                </a:solidFill>
                <a:latin typeface="+mn-lt"/>
                <a:ea typeface="+mn-ea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t>Presentation Title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0539" y="6350407"/>
            <a:ext cx="1968024" cy="386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89419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25" r:id="rId1"/>
    <p:sldLayoutId id="2147485426" r:id="rId2"/>
    <p:sldLayoutId id="2147485427" r:id="rId3"/>
    <p:sldLayoutId id="2147485428" r:id="rId4"/>
    <p:sldLayoutId id="2147485429" r:id="rId5"/>
    <p:sldLayoutId id="2147485430" r:id="rId6"/>
    <p:sldLayoutId id="2147485431" r:id="rId7"/>
    <p:sldLayoutId id="2147485432" r:id="rId8"/>
    <p:sldLayoutId id="2147485433" r:id="rId9"/>
    <p:sldLayoutId id="2147485434" r:id="rId10"/>
    <p:sldLayoutId id="2147485435" r:id="rId11"/>
    <p:sldLayoutId id="2147485436" r:id="rId12"/>
    <p:sldLayoutId id="2147485437" r:id="rId13"/>
    <p:sldLayoutId id="2147485438" r:id="rId14"/>
    <p:sldLayoutId id="2147485439" r:id="rId15"/>
    <p:sldLayoutId id="2147485440" r:id="rId16"/>
    <p:sldLayoutId id="2147485441" r:id="rId17"/>
    <p:sldLayoutId id="2147485442" r:id="rId18"/>
    <p:sldLayoutId id="2147485443" r:id="rId19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+mn-lt"/>
          <a:ea typeface="MS PGothic" pitchFamily="34" charset="-128"/>
          <a:cs typeface="Andes ExtraLight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Arial" charset="0"/>
        <a:defRPr sz="2200">
          <a:solidFill>
            <a:schemeClr val="tx1"/>
          </a:solidFill>
          <a:latin typeface="Arial" charset="0"/>
          <a:ea typeface="MS PGothic" pitchFamily="34" charset="-128"/>
          <a:cs typeface="Andes ExtraLight" pitchFamily="50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342900" indent="-342900" algn="l" rtl="0" eaLnBrk="0" fontAlgn="base" hangingPunct="0">
        <a:lnSpc>
          <a:spcPct val="150000"/>
        </a:lnSpc>
        <a:spcBef>
          <a:spcPts val="1800"/>
        </a:spcBef>
        <a:spcAft>
          <a:spcPct val="0"/>
        </a:spcAft>
        <a:buClr>
          <a:srgbClr val="404040"/>
        </a:buClr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1pPr>
      <a:lvl2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2pPr>
      <a:lvl3pPr marL="2857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charset="0"/>
        <a:buChar char="•"/>
        <a:defRPr>
          <a:solidFill>
            <a:schemeClr val="tx2"/>
          </a:solidFill>
          <a:latin typeface="Arial"/>
          <a:ea typeface="MS PGothic" pitchFamily="34" charset="-128"/>
          <a:cs typeface="Arial"/>
        </a:defRPr>
      </a:lvl3pPr>
      <a:lvl4pPr marL="831850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4pPr>
      <a:lvl5pPr marL="1196975" indent="-28575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rgbClr val="595959"/>
        </a:buClr>
        <a:buFont typeface="Arial" charset="0"/>
        <a:buChar char="•"/>
        <a:defRPr>
          <a:solidFill>
            <a:srgbClr val="595959"/>
          </a:solidFill>
          <a:latin typeface="Arial"/>
          <a:ea typeface="MS PGothic" pitchFamily="34" charset="-128"/>
          <a:cs typeface="Arial"/>
        </a:defRPr>
      </a:lvl5pPr>
      <a:lvl6pPr marL="502920" indent="-228600" algn="l" rtl="0" fontAlgn="base">
        <a:spcBef>
          <a:spcPct val="20000"/>
        </a:spcBef>
        <a:spcAft>
          <a:spcPct val="0"/>
        </a:spcAft>
        <a:buClr>
          <a:schemeClr val="tx2">
            <a:lumMod val="65000"/>
            <a:lumOff val="35000"/>
          </a:schemeClr>
        </a:buClr>
        <a:buFont typeface="Arial"/>
        <a:buChar char="•"/>
        <a:defRPr sz="1800">
          <a:solidFill>
            <a:schemeClr val="tx2">
              <a:lumMod val="65000"/>
              <a:lumOff val="35000"/>
            </a:schemeClr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438912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41961" y="4642409"/>
            <a:ext cx="854465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400" b="0" kern="0" noProof="0" dirty="0">
                <a:solidFill>
                  <a:srgbClr val="002060"/>
                </a:solidFill>
                <a:latin typeface="Calibri" panose="020F0502020204030204" pitchFamily="34" charset="0"/>
              </a:rPr>
              <a:t>Technical Deep Dive on Seismic Risk and Resilience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0" i="0" u="none" strike="noStrike" kern="0" cap="none" spc="0" normalizeH="0" baseline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</a:rPr>
              <a:t>March 12 – 16, 2018</a:t>
            </a:r>
            <a:endParaRPr kumimoji="0" lang="en-US" altLang="ja-JP" sz="2400" b="0" i="0" u="none" strike="noStrike" kern="0" cap="none" spc="0" normalizeH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</a:endParaRP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400" b="0" kern="0" baseline="0" noProof="0" dirty="0">
                <a:solidFill>
                  <a:srgbClr val="002060"/>
                </a:solidFill>
                <a:latin typeface="Calibri" panose="020F0502020204030204" pitchFamily="34" charset="0"/>
              </a:rPr>
              <a:t>Tokyo, Sendai and Kobe</a:t>
            </a:r>
            <a:endParaRPr kumimoji="0" lang="en-US" altLang="ja-JP" sz="2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722" y="3424359"/>
            <a:ext cx="7502261" cy="830997"/>
          </a:xfrm>
          <a:prstGeom prst="rect">
            <a:avLst/>
          </a:prstGeom>
          <a:solidFill>
            <a:srgbClr val="021F43">
              <a:alpha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0" kern="0" dirty="0">
                <a:solidFill>
                  <a:schemeClr val="bg1"/>
                </a:solidFill>
                <a:latin typeface="Calibri" panose="020F0502020204030204" pitchFamily="34" charset="0"/>
              </a:rPr>
              <a:t>&lt;Country Name&gt; Action Plan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83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Key Takeaways from TDD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559891"/>
            <a:ext cx="8440305" cy="4600863"/>
          </a:xfrm>
        </p:spPr>
        <p:txBody>
          <a:bodyPr>
            <a:normAutofit/>
          </a:bodyPr>
          <a:lstStyle/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j-lt"/>
              </a:rPr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Key Takeaway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Key Takeaway&gt;</a:t>
            </a:r>
            <a:endParaRPr lang="en-US" dirty="0">
              <a:latin typeface="+mj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376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8448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1520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573922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Accomplishments Needed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559891"/>
            <a:ext cx="8440305" cy="4600863"/>
          </a:xfrm>
        </p:spPr>
        <p:txBody>
          <a:bodyPr>
            <a:normAutofit/>
          </a:bodyPr>
          <a:lstStyle/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Accomplishment/Goal&gt;</a:t>
            </a:r>
          </a:p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Accomplishment/Goal&gt;</a:t>
            </a:r>
          </a:p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Accomplishment/Goal&gt;</a:t>
            </a:r>
          </a:p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Accomplishment/Goal&gt;</a:t>
            </a:r>
          </a:p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&lt;Accomplishment/Goal&gt;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376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8448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1520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839243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Actions to be Taken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559891"/>
            <a:ext cx="8440305" cy="4600863"/>
          </a:xfrm>
        </p:spPr>
        <p:txBody>
          <a:bodyPr>
            <a:norm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Short-term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&lt;Action to be Taken&gt;, by &lt;Who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Medium-term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/>
              <a:t>Long-term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Action to be Taken&gt;, by &lt;Who&gt;</a:t>
            </a:r>
          </a:p>
          <a:p>
            <a:pPr marL="0" lvl="1" indent="0">
              <a:spcAft>
                <a:spcPts val="60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243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rrier/Challenge of Implementation of Plan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559891"/>
            <a:ext cx="8440305" cy="4600863"/>
          </a:xfrm>
        </p:spPr>
        <p:txBody>
          <a:bodyPr>
            <a:normAutofit/>
          </a:bodyPr>
          <a:lstStyle/>
          <a:p>
            <a:pPr lvl="0"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  <a:p>
            <a:pPr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latin typeface="+mn-lt"/>
              </a:rPr>
              <a:t>&lt;Barrier/Challenge&gt; &amp; &lt;Current efforts to address&gt;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376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8448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41520" y="4789154"/>
            <a:ext cx="2410209" cy="13716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84626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4C04D3-1B41-4ACF-B3E7-625E10603CE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&lt;Country&gt; Support Needed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/>
          </p:nvPr>
        </p:nvSpPr>
        <p:spPr>
          <a:xfrm>
            <a:off x="343401" y="1417835"/>
            <a:ext cx="8440305" cy="4742920"/>
          </a:xfrm>
        </p:spPr>
        <p:txBody>
          <a:bodyPr>
            <a:normAutofit/>
          </a:bodyPr>
          <a:lstStyle/>
          <a:p>
            <a:pPr marL="285750" lvl="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World Bank: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</a:rPr>
              <a:t>&lt;Support Requested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>
                <a:latin typeface="+mn-lt"/>
              </a:rPr>
              <a:t>DRM Hub/TDLC Program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228600" lvl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u="sng" dirty="0"/>
              <a:t>Knowledge Products (Case Studies,  Policy Notes, etc.)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500634"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&lt;Support Requested&gt;</a:t>
            </a:r>
          </a:p>
          <a:p>
            <a:pPr marL="0" lvl="1" indent="0">
              <a:spcAft>
                <a:spcPts val="60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01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BG-Any_Logo">
  <a:themeElements>
    <a:clrScheme name="World Bank Approved">
      <a:dk1>
        <a:srgbClr val="021F43"/>
      </a:dk1>
      <a:lt1>
        <a:sysClr val="window" lastClr="FFFFFF"/>
      </a:lt1>
      <a:dk2>
        <a:srgbClr val="000000"/>
      </a:dk2>
      <a:lt2>
        <a:srgbClr val="139AF0"/>
      </a:lt2>
      <a:accent1>
        <a:srgbClr val="0A5157"/>
      </a:accent1>
      <a:accent2>
        <a:srgbClr val="18B844"/>
      </a:accent2>
      <a:accent3>
        <a:srgbClr val="E79B08"/>
      </a:accent3>
      <a:accent4>
        <a:srgbClr val="920016"/>
      </a:accent4>
      <a:accent5>
        <a:srgbClr val="532C63"/>
      </a:accent5>
      <a:accent6>
        <a:srgbClr val="128F9C"/>
      </a:accent6>
      <a:hlink>
        <a:srgbClr val="AF7B05"/>
      </a:hlink>
      <a:folHlink>
        <a:srgbClr val="0B5740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Full Page Interior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World Bank Arial">
      <a:majorFont>
        <a:latin typeface="Arial Bold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BG-Any_Logo</Template>
  <TotalTime>26120</TotalTime>
  <Words>276</Words>
  <Application>Microsoft Office PowerPoint</Application>
  <PresentationFormat>On-screen Show (4:3)</PresentationFormat>
  <Paragraphs>48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1" baseType="lpstr">
      <vt:lpstr>ＭＳ Ｐゴシック</vt:lpstr>
      <vt:lpstr>ＭＳ Ｐゴシック</vt:lpstr>
      <vt:lpstr>Andes ExtraLight</vt:lpstr>
      <vt:lpstr>Arial</vt:lpstr>
      <vt:lpstr>Arial Bold</vt:lpstr>
      <vt:lpstr>Calibri</vt:lpstr>
      <vt:lpstr>Calibri Light</vt:lpstr>
      <vt:lpstr>Times New Roman</vt:lpstr>
      <vt:lpstr>Trebuchet MS</vt:lpstr>
      <vt:lpstr>Wingdings</vt:lpstr>
      <vt:lpstr>WBG-Any_Logo</vt:lpstr>
      <vt:lpstr>Full Page Interior</vt:lpstr>
      <vt:lpstr>Custom Design</vt:lpstr>
      <vt:lpstr>1_Full Page Interior</vt:lpstr>
      <vt:lpstr>think-cell Slide</vt:lpstr>
      <vt:lpstr>PowerPoint Presentation</vt:lpstr>
      <vt:lpstr>&lt;Country&gt; Key Takeaways from TDD</vt:lpstr>
      <vt:lpstr>&lt;Country&gt; Accomplishments Needed</vt:lpstr>
      <vt:lpstr>&lt;Country&gt; Actions to be Taken</vt:lpstr>
      <vt:lpstr>Barrier/Challenge of Implementation of Plan</vt:lpstr>
      <vt:lpstr>&lt;Country&gt; Support Need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2016 TDLC Steering Committee</dc:title>
  <dc:creator>Daniel Levine</dc:creator>
  <cp:lastModifiedBy>Daniel Levine</cp:lastModifiedBy>
  <cp:revision>466</cp:revision>
  <cp:lastPrinted>2017-06-13T05:50:10Z</cp:lastPrinted>
  <dcterms:created xsi:type="dcterms:W3CDTF">2014-09-04T17:37:55Z</dcterms:created>
  <dcterms:modified xsi:type="dcterms:W3CDTF">2018-03-12T01:16:20Z</dcterms:modified>
</cp:coreProperties>
</file>